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tags/tag38.xml" ContentType="application/vnd.openxmlformats-officedocument.presentationml.tags+xml"/>
  <Override PartName="/ppt/notesSlides/notesSlide2.xml" ContentType="application/vnd.openxmlformats-officedocument.presentationml.notesSlide+xml"/>
  <Override PartName="/ppt/tags/tag39.xml" ContentType="application/vnd.openxmlformats-officedocument.presentationml.tags+xml"/>
  <Override PartName="/ppt/notesSlides/notesSlide3.xml" ContentType="application/vnd.openxmlformats-officedocument.presentationml.notesSlide+xml"/>
  <Override PartName="/ppt/tags/tag40.xml" ContentType="application/vnd.openxmlformats-officedocument.presentationml.tags+xml"/>
  <Override PartName="/ppt/notesSlides/notesSlide4.xml" ContentType="application/vnd.openxmlformats-officedocument.presentationml.notesSlide+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notesSlides/notesSlide6.xml" ContentType="application/vnd.openxmlformats-officedocument.presentationml.notesSlide+xml"/>
  <Override PartName="/ppt/tags/tag43.xml" ContentType="application/vnd.openxmlformats-officedocument.presentationml.tags+xml"/>
  <Override PartName="/ppt/notesSlides/notesSlide7.xml" ContentType="application/vnd.openxmlformats-officedocument.presentationml.notesSlide+xml"/>
  <Override PartName="/ppt/tags/tag44.xml" ContentType="application/vnd.openxmlformats-officedocument.presentationml.tags+xml"/>
  <Override PartName="/ppt/notesSlides/notesSlide8.xml" ContentType="application/vnd.openxmlformats-officedocument.presentationml.notesSlide+xml"/>
  <Override PartName="/ppt/tags/tag45.xml" ContentType="application/vnd.openxmlformats-officedocument.presentationml.tags+xml"/>
  <Override PartName="/ppt/notesSlides/notesSlide9.xml" ContentType="application/vnd.openxmlformats-officedocument.presentationml.notesSlide+xml"/>
  <Override PartName="/ppt/tags/tag4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7.xml" ContentType="application/vnd.openxmlformats-officedocument.presentationml.tags+xml"/>
  <Override PartName="/ppt/notesSlides/notesSlide12.xml" ContentType="application/vnd.openxmlformats-officedocument.presentationml.notesSlide+xml"/>
  <Override PartName="/ppt/tags/tag48.xml" ContentType="application/vnd.openxmlformats-officedocument.presentationml.tags+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5092" r:id="rId4"/>
  </p:sldMasterIdLst>
  <p:notesMasterIdLst>
    <p:notesMasterId r:id="rId18"/>
  </p:notesMasterIdLst>
  <p:sldIdLst>
    <p:sldId id="686" r:id="rId5"/>
    <p:sldId id="1045" r:id="rId6"/>
    <p:sldId id="1050" r:id="rId7"/>
    <p:sldId id="1055" r:id="rId8"/>
    <p:sldId id="1048" r:id="rId9"/>
    <p:sldId id="1047" r:id="rId10"/>
    <p:sldId id="1049" r:id="rId11"/>
    <p:sldId id="1053" r:id="rId12"/>
    <p:sldId id="1054" r:id="rId13"/>
    <p:sldId id="612" r:id="rId14"/>
    <p:sldId id="790" r:id="rId15"/>
    <p:sldId id="1043" r:id="rId16"/>
    <p:sldId id="284" r:id="rId17"/>
  </p:sldIdLst>
  <p:sldSz cx="12192000" cy="6858000"/>
  <p:notesSz cx="6858000" cy="914400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Page" id="{6840FCB3-F170-4999-A0CB-3C22E1DAAA9D}">
          <p14:sldIdLst>
            <p14:sldId id="686"/>
          </p14:sldIdLst>
        </p14:section>
        <p14:section name="content" id="{C9E56C3F-C9AA-40FA-9A15-2B5C439EBF77}">
          <p14:sldIdLst>
            <p14:sldId id="1045"/>
            <p14:sldId id="1050"/>
            <p14:sldId id="1055"/>
            <p14:sldId id="1048"/>
            <p14:sldId id="1047"/>
            <p14:sldId id="1049"/>
            <p14:sldId id="1053"/>
            <p14:sldId id="1054"/>
          </p14:sldIdLst>
        </p14:section>
        <p14:section name="Questions?" id="{B44EFD31-9F6B-49EE-8BB7-066EAA178A45}">
          <p14:sldIdLst>
            <p14:sldId id="612"/>
          </p14:sldIdLst>
        </p14:section>
        <p14:section name="Ending slides" id="{E18B1E84-EBCD-44A0-8E96-4940E36936FA}">
          <p14:sldIdLst>
            <p14:sldId id="790"/>
            <p14:sldId id="1043"/>
            <p14:sldId id="284"/>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USSUTOUR Chloé" initials="DC" lastIdx="4" clrIdx="0">
    <p:extLst>
      <p:ext uri="{19B8F6BF-5375-455C-9EA6-DF929625EA0E}">
        <p15:presenceInfo xmlns:p15="http://schemas.microsoft.com/office/powerpoint/2012/main" userId="S::chloe.dussutour@wavestone.com::ad81a65e-2cde-400c-a68a-6c4221b16de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133C72"/>
    <a:srgbClr val="268BBF"/>
    <a:srgbClr val="1073DE"/>
    <a:srgbClr val="43C0BA"/>
    <a:srgbClr val="175AA9"/>
    <a:srgbClr val="143B76"/>
    <a:srgbClr val="C3DB63"/>
    <a:srgbClr val="011D30"/>
    <a:srgbClr val="E5E5E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68957-4F4F-4E4D-B3B1-D8044BC36DC6}" v="191" dt="2022-05-19T07:22:27.793"/>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59" autoAdjust="0"/>
    <p:restoredTop sz="94828"/>
  </p:normalViewPr>
  <p:slideViewPr>
    <p:cSldViewPr snapToGrid="0" snapToObjects="1" showGuides="1">
      <p:cViewPr varScale="1">
        <p:scale>
          <a:sx n="81" d="100"/>
          <a:sy n="81" d="100"/>
        </p:scale>
        <p:origin x="114" y="606"/>
      </p:cViewPr>
      <p:guideLst>
        <p:guide orient="horz" pos="2160"/>
        <p:guide pos="3840"/>
      </p:guideLst>
    </p:cSldViewPr>
  </p:slideViewPr>
  <p:notesTextViewPr>
    <p:cViewPr>
      <p:scale>
        <a:sx n="20" d="100"/>
        <a:sy n="2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USSUTOUR Chloé" userId="ad81a65e-2cde-400c-a68a-6c4221b16de5" providerId="ADAL" clId="{78668957-4F4F-4E4D-B3B1-D8044BC36DC6}"/>
    <pc:docChg chg="custSel delSld modSection">
      <pc:chgData name="DUSSUTOUR Chloé" userId="ad81a65e-2cde-400c-a68a-6c4221b16de5" providerId="ADAL" clId="{78668957-4F4F-4E4D-B3B1-D8044BC36DC6}" dt="2022-05-19T07:21:48.652" v="1" actId="1592"/>
      <pc:docMkLst>
        <pc:docMk/>
      </pc:docMkLst>
      <pc:sldChg chg="del">
        <pc:chgData name="DUSSUTOUR Chloé" userId="ad81a65e-2cde-400c-a68a-6c4221b16de5" providerId="ADAL" clId="{78668957-4F4F-4E4D-B3B1-D8044BC36DC6}" dt="2022-05-19T07:21:36.817" v="0" actId="47"/>
        <pc:sldMkLst>
          <pc:docMk/>
          <pc:sldMk cId="3567860886" sldId="785"/>
        </pc:sldMkLst>
      </pc:sldChg>
      <pc:sldChg chg="del">
        <pc:chgData name="DUSSUTOUR Chloé" userId="ad81a65e-2cde-400c-a68a-6c4221b16de5" providerId="ADAL" clId="{78668957-4F4F-4E4D-B3B1-D8044BC36DC6}" dt="2022-05-19T07:21:36.817" v="0" actId="47"/>
        <pc:sldMkLst>
          <pc:docMk/>
          <pc:sldMk cId="1244205091" sldId="1044"/>
        </pc:sldMkLst>
      </pc:sldChg>
      <pc:sldChg chg="del">
        <pc:chgData name="DUSSUTOUR Chloé" userId="ad81a65e-2cde-400c-a68a-6c4221b16de5" providerId="ADAL" clId="{78668957-4F4F-4E4D-B3B1-D8044BC36DC6}" dt="2022-05-19T07:21:36.817" v="0" actId="47"/>
        <pc:sldMkLst>
          <pc:docMk/>
          <pc:sldMk cId="2197550702" sldId="1046"/>
        </pc:sldMkLst>
      </pc:sldChg>
      <pc:sldChg chg="delCm">
        <pc:chgData name="DUSSUTOUR Chloé" userId="ad81a65e-2cde-400c-a68a-6c4221b16de5" providerId="ADAL" clId="{78668957-4F4F-4E4D-B3B1-D8044BC36DC6}" dt="2022-05-19T07:21:48.652" v="1" actId="1592"/>
        <pc:sldMkLst>
          <pc:docMk/>
          <pc:sldMk cId="3898206590" sldId="1055"/>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EC Square Sans Pro" panose="020B0506040000020004" pitchFamily="34" charset="0"/>
              </a:defRPr>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EC Square Sans Pro" panose="020B0506040000020004" pitchFamily="34" charset="0"/>
              </a:defRPr>
            </a:lvl1pPr>
          </a:lstStyle>
          <a:p>
            <a:fld id="{344847AB-3B75-FF4A-B0A2-6BEB5C2F7506}" type="datetimeFigureOut">
              <a:rPr lang="en-GB" smtClean="0"/>
              <a:pPr/>
              <a:t>18/05/2022</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EC Square Sans Pro" panose="020B0506040000020004" pitchFamily="34" charset="0"/>
              </a:defRPr>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EC Square Sans Pro" panose="020B0506040000020004" pitchFamily="34" charset="0"/>
              </a:defRPr>
            </a:lvl1pPr>
          </a:lstStyle>
          <a:p>
            <a:fld id="{0DB9A84A-733A-0C47-AC2B-F0C70F83A7E9}" type="slidenum">
              <a:rPr lang="en-GB" smtClean="0"/>
              <a:pPr/>
              <a:t>‹#›</a:t>
            </a:fld>
            <a:endParaRPr lang="en-GB" dirty="0"/>
          </a:p>
        </p:txBody>
      </p:sp>
    </p:spTree>
    <p:extLst>
      <p:ext uri="{BB962C8B-B14F-4D97-AF65-F5344CB8AC3E}">
        <p14:creationId xmlns:p14="http://schemas.microsoft.com/office/powerpoint/2010/main" val="12147905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EC Square Sans Pro" panose="020B0506040000020004" pitchFamily="34" charset="0"/>
        <a:ea typeface="+mn-ea"/>
        <a:cs typeface="+mn-cs"/>
      </a:defRPr>
    </a:lvl1pPr>
    <a:lvl2pPr marL="457200" algn="l" defTabSz="914400" rtl="0" eaLnBrk="1" latinLnBrk="0" hangingPunct="1">
      <a:defRPr sz="1200" kern="1200">
        <a:solidFill>
          <a:schemeClr val="tx1"/>
        </a:solidFill>
        <a:latin typeface="EC Square Sans Pro" panose="020B0506040000020004" pitchFamily="34" charset="0"/>
        <a:ea typeface="+mn-ea"/>
        <a:cs typeface="+mn-cs"/>
      </a:defRPr>
    </a:lvl2pPr>
    <a:lvl3pPr marL="914400" algn="l" defTabSz="914400" rtl="0" eaLnBrk="1" latinLnBrk="0" hangingPunct="1">
      <a:defRPr sz="1200" kern="1200">
        <a:solidFill>
          <a:schemeClr val="tx1"/>
        </a:solidFill>
        <a:latin typeface="EC Square Sans Pro" panose="020B0506040000020004" pitchFamily="34" charset="0"/>
        <a:ea typeface="+mn-ea"/>
        <a:cs typeface="+mn-cs"/>
      </a:defRPr>
    </a:lvl3pPr>
    <a:lvl4pPr marL="1371600" algn="l" defTabSz="914400" rtl="0" eaLnBrk="1" latinLnBrk="0" hangingPunct="1">
      <a:defRPr sz="1200" kern="1200">
        <a:solidFill>
          <a:schemeClr val="tx1"/>
        </a:solidFill>
        <a:latin typeface="EC Square Sans Pro" panose="020B0506040000020004" pitchFamily="34" charset="0"/>
        <a:ea typeface="+mn-ea"/>
        <a:cs typeface="+mn-cs"/>
      </a:defRPr>
    </a:lvl4pPr>
    <a:lvl5pPr marL="1828800" algn="l" defTabSz="914400" rtl="0" eaLnBrk="1" latinLnBrk="0" hangingPunct="1">
      <a:defRPr sz="1200" kern="1200">
        <a:solidFill>
          <a:schemeClr val="tx1"/>
        </a:solidFill>
        <a:latin typeface="EC Square Sans Pro" panose="020B05060400000200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yintracomm.ec.europa.eu/corp/intellectual-property/Documents/2019_Reuse-guidelines(CC-BY).pdf"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1</a:t>
            </a:fld>
            <a:endParaRPr lang="en-GB" dirty="0"/>
          </a:p>
        </p:txBody>
      </p:sp>
    </p:spTree>
    <p:extLst>
      <p:ext uri="{BB962C8B-B14F-4D97-AF65-F5344CB8AC3E}">
        <p14:creationId xmlns:p14="http://schemas.microsoft.com/office/powerpoint/2010/main" val="8264751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10</a:t>
            </a:fld>
            <a:endParaRPr lang="en-GB" dirty="0"/>
          </a:p>
        </p:txBody>
      </p:sp>
    </p:spTree>
    <p:extLst>
      <p:ext uri="{BB962C8B-B14F-4D97-AF65-F5344CB8AC3E}">
        <p14:creationId xmlns:p14="http://schemas.microsoft.com/office/powerpoint/2010/main" val="1240367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11</a:t>
            </a:fld>
            <a:endParaRPr lang="en-GB" dirty="0"/>
          </a:p>
        </p:txBody>
      </p:sp>
    </p:spTree>
    <p:extLst>
      <p:ext uri="{BB962C8B-B14F-4D97-AF65-F5344CB8AC3E}">
        <p14:creationId xmlns:p14="http://schemas.microsoft.com/office/powerpoint/2010/main" val="34718291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12</a:t>
            </a:fld>
            <a:endParaRPr lang="en-GB" dirty="0"/>
          </a:p>
        </p:txBody>
      </p:sp>
    </p:spTree>
    <p:extLst>
      <p:ext uri="{BB962C8B-B14F-4D97-AF65-F5344CB8AC3E}">
        <p14:creationId xmlns:p14="http://schemas.microsoft.com/office/powerpoint/2010/main" val="22832358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Update/add/delete parts of the</a:t>
            </a:r>
            <a:r>
              <a:rPr lang="en-GB" baseline="0"/>
              <a:t> copy right notice where appropriate.</a:t>
            </a:r>
          </a:p>
          <a:p>
            <a:r>
              <a:rPr lang="en-GB" baseline="0"/>
              <a:t>More information: </a:t>
            </a:r>
            <a:r>
              <a:rPr lang="en-GB">
                <a:hlinkClick r:id="rId3"/>
              </a:rPr>
              <a:t>https</a:t>
            </a:r>
            <a:r>
              <a:rPr lang="en-GB" dirty="0">
                <a:hlinkClick r:id="rId3"/>
              </a:rPr>
              <a:t>://myintracomm.ec.europa.eu/corp/intellectual-property/Documents/2019_Reuse-guidelines%28CC-BY%29.pdf</a:t>
            </a:r>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pPr/>
              <a:t>13</a:t>
            </a:fld>
            <a:endParaRPr lang="en-GB" dirty="0"/>
          </a:p>
        </p:txBody>
      </p:sp>
    </p:spTree>
    <p:extLst>
      <p:ext uri="{BB962C8B-B14F-4D97-AF65-F5344CB8AC3E}">
        <p14:creationId xmlns:p14="http://schemas.microsoft.com/office/powerpoint/2010/main" val="20075199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2</a:t>
            </a:fld>
            <a:endParaRPr lang="en-GB" dirty="0"/>
          </a:p>
        </p:txBody>
      </p:sp>
    </p:spTree>
    <p:extLst>
      <p:ext uri="{BB962C8B-B14F-4D97-AF65-F5344CB8AC3E}">
        <p14:creationId xmlns:p14="http://schemas.microsoft.com/office/powerpoint/2010/main" val="25901035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3</a:t>
            </a:fld>
            <a:endParaRPr lang="en-GB" dirty="0"/>
          </a:p>
        </p:txBody>
      </p:sp>
    </p:spTree>
    <p:extLst>
      <p:ext uri="{BB962C8B-B14F-4D97-AF65-F5344CB8AC3E}">
        <p14:creationId xmlns:p14="http://schemas.microsoft.com/office/powerpoint/2010/main" val="15095427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4</a:t>
            </a:fld>
            <a:endParaRPr lang="en-GB" dirty="0"/>
          </a:p>
        </p:txBody>
      </p:sp>
    </p:spTree>
    <p:extLst>
      <p:ext uri="{BB962C8B-B14F-4D97-AF65-F5344CB8AC3E}">
        <p14:creationId xmlns:p14="http://schemas.microsoft.com/office/powerpoint/2010/main" val="31069614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5</a:t>
            </a:fld>
            <a:endParaRPr lang="en-GB" dirty="0"/>
          </a:p>
        </p:txBody>
      </p:sp>
    </p:spTree>
    <p:extLst>
      <p:ext uri="{BB962C8B-B14F-4D97-AF65-F5344CB8AC3E}">
        <p14:creationId xmlns:p14="http://schemas.microsoft.com/office/powerpoint/2010/main" val="27806615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6</a:t>
            </a:fld>
            <a:endParaRPr lang="en-GB" dirty="0"/>
          </a:p>
        </p:txBody>
      </p:sp>
    </p:spTree>
    <p:extLst>
      <p:ext uri="{BB962C8B-B14F-4D97-AF65-F5344CB8AC3E}">
        <p14:creationId xmlns:p14="http://schemas.microsoft.com/office/powerpoint/2010/main" val="17641028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7</a:t>
            </a:fld>
            <a:endParaRPr lang="en-GB" dirty="0"/>
          </a:p>
        </p:txBody>
      </p:sp>
    </p:spTree>
    <p:extLst>
      <p:ext uri="{BB962C8B-B14F-4D97-AF65-F5344CB8AC3E}">
        <p14:creationId xmlns:p14="http://schemas.microsoft.com/office/powerpoint/2010/main" val="231226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8</a:t>
            </a:fld>
            <a:endParaRPr lang="en-GB" dirty="0"/>
          </a:p>
        </p:txBody>
      </p:sp>
    </p:spTree>
    <p:extLst>
      <p:ext uri="{BB962C8B-B14F-4D97-AF65-F5344CB8AC3E}">
        <p14:creationId xmlns:p14="http://schemas.microsoft.com/office/powerpoint/2010/main" val="31456898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DB9A84A-733A-0C47-AC2B-F0C70F83A7E9}" type="slidenum">
              <a:rPr lang="en-GB" smtClean="0"/>
              <a:pPr/>
              <a:t>9</a:t>
            </a:fld>
            <a:endParaRPr lang="en-GB" dirty="0"/>
          </a:p>
        </p:txBody>
      </p:sp>
    </p:spTree>
    <p:extLst>
      <p:ext uri="{BB962C8B-B14F-4D97-AF65-F5344CB8AC3E}">
        <p14:creationId xmlns:p14="http://schemas.microsoft.com/office/powerpoint/2010/main" val="30728658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3.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8.jp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8.jpg"/><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8" Type="http://schemas.openxmlformats.org/officeDocument/2006/relationships/hyperlink" Target="https://twitter.com/Joinup_eu" TargetMode="External"/><Relationship Id="rId3" Type="http://schemas.openxmlformats.org/officeDocument/2006/relationships/oleObject" Target="../embeddings/oleObject28.bin"/><Relationship Id="rId7" Type="http://schemas.openxmlformats.org/officeDocument/2006/relationships/hyperlink" Target="https://joinup.ec.europa.eu/" TargetMode="External"/><Relationship Id="rId12"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11.png"/><Relationship Id="rId11" Type="http://schemas.openxmlformats.org/officeDocument/2006/relationships/hyperlink" Target="https://joinup.ec.europa.eu/contact" TargetMode="External"/><Relationship Id="rId5" Type="http://schemas.openxmlformats.org/officeDocument/2006/relationships/image" Target="../media/image10.jpg"/><Relationship Id="rId10" Type="http://schemas.openxmlformats.org/officeDocument/2006/relationships/hyperlink" Target="https://www.linkedin.com/company/european-commission/" TargetMode="External"/><Relationship Id="rId4" Type="http://schemas.openxmlformats.org/officeDocument/2006/relationships/image" Target="../media/image1.emf"/><Relationship Id="rId9" Type="http://schemas.openxmlformats.org/officeDocument/2006/relationships/hyperlink" Target="https://www.linkedin.com/groups/2600644" TargetMode="Externa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9.jp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5.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8.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4.jp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8.jp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8.jp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EA20ADE-3D13-4F23-8546-63BF1B0DACD5}"/>
              </a:ext>
            </a:extLst>
          </p:cNvPr>
          <p:cNvGraphicFramePr>
            <a:graphicFrameLocks noChangeAspect="1"/>
          </p:cNvGraphicFramePr>
          <p:nvPr userDrawn="1">
            <p:custDataLst>
              <p:tags r:id="rId1"/>
            </p:custDataLst>
            <p:extLst>
              <p:ext uri="{D42A27DB-BD31-4B8C-83A1-F6EECF244321}">
                <p14:modId xmlns:p14="http://schemas.microsoft.com/office/powerpoint/2010/main" val="1379387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5EA20ADE-3D13-4F23-8546-63BF1B0DAC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Placeholder 3">
            <a:extLst>
              <a:ext uri="{FF2B5EF4-FFF2-40B4-BE49-F238E27FC236}">
                <a16:creationId xmlns:a16="http://schemas.microsoft.com/office/drawing/2014/main" id="{862B7545-6B29-4548-89F4-07E321624807}"/>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20369" b="20369"/>
          <a:stretch>
            <a:fillRect/>
          </a:stretch>
        </p:blipFill>
        <p:spPr>
          <a:xfrm>
            <a:off x="0" y="1077913"/>
            <a:ext cx="12192000" cy="5780087"/>
          </a:xfrm>
          <a:prstGeom prst="rect">
            <a:avLst/>
          </a:prstGeom>
        </p:spPr>
      </p:pic>
      <p:pic>
        <p:nvPicPr>
          <p:cNvPr id="17" name="Picture 16">
            <a:extLst>
              <a:ext uri="{FF2B5EF4-FFF2-40B4-BE49-F238E27FC236}">
                <a16:creationId xmlns:a16="http://schemas.microsoft.com/office/drawing/2014/main" id="{9DD69FEA-130C-461E-8FF4-AC4C46C9E7C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1355" y="258042"/>
            <a:ext cx="1659793" cy="1152460"/>
          </a:xfrm>
          <a:prstGeom prst="rect">
            <a:avLst/>
          </a:prstGeom>
        </p:spPr>
      </p:pic>
      <p:sp>
        <p:nvSpPr>
          <p:cNvPr id="18" name="Rectangle 17">
            <a:extLst>
              <a:ext uri="{FF2B5EF4-FFF2-40B4-BE49-F238E27FC236}">
                <a16:creationId xmlns:a16="http://schemas.microsoft.com/office/drawing/2014/main" id="{8031D73C-5182-4BB0-B915-64CD51518740}"/>
              </a:ext>
            </a:extLst>
          </p:cNvPr>
          <p:cNvSpPr/>
          <p:nvPr userDrawn="1"/>
        </p:nvSpPr>
        <p:spPr>
          <a:xfrm>
            <a:off x="5703580"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GB" dirty="0"/>
          </a:p>
        </p:txBody>
      </p:sp>
      <p:sp>
        <p:nvSpPr>
          <p:cNvPr id="19" name="Flowchart: Process 18">
            <a:extLst>
              <a:ext uri="{FF2B5EF4-FFF2-40B4-BE49-F238E27FC236}">
                <a16:creationId xmlns:a16="http://schemas.microsoft.com/office/drawing/2014/main" id="{B4354AE6-F8CA-43A8-B075-A0AFDB7270EB}"/>
              </a:ext>
            </a:extLst>
          </p:cNvPr>
          <p:cNvSpPr/>
          <p:nvPr userDrawn="1"/>
        </p:nvSpPr>
        <p:spPr>
          <a:xfrm>
            <a:off x="0" y="1076155"/>
            <a:ext cx="12192000" cy="5781845"/>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cxnSp>
        <p:nvCxnSpPr>
          <p:cNvPr id="22" name="Straight Connector 21">
            <a:extLst>
              <a:ext uri="{FF2B5EF4-FFF2-40B4-BE49-F238E27FC236}">
                <a16:creationId xmlns:a16="http://schemas.microsoft.com/office/drawing/2014/main" id="{F32BDA53-2F72-40A0-BDBC-225A6DCA856A}"/>
              </a:ext>
            </a:extLst>
          </p:cNvPr>
          <p:cNvCxnSpPr>
            <a:cxnSpLocks/>
          </p:cNvCxnSpPr>
          <p:nvPr userDrawn="1"/>
        </p:nvCxnSpPr>
        <p:spPr>
          <a:xfrm>
            <a:off x="1875951" y="4549821"/>
            <a:ext cx="8525349"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pic>
        <p:nvPicPr>
          <p:cNvPr id="23" name="Picture 22">
            <a:extLst>
              <a:ext uri="{FF2B5EF4-FFF2-40B4-BE49-F238E27FC236}">
                <a16:creationId xmlns:a16="http://schemas.microsoft.com/office/drawing/2014/main" id="{CE32295A-870B-4931-8FE6-8B6FA1C406E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1355" y="256284"/>
            <a:ext cx="1659793" cy="1152460"/>
          </a:xfrm>
          <a:prstGeom prst="rect">
            <a:avLst/>
          </a:prstGeom>
        </p:spPr>
      </p:pic>
      <p:sp>
        <p:nvSpPr>
          <p:cNvPr id="24" name="Rectangle 23">
            <a:extLst>
              <a:ext uri="{FF2B5EF4-FFF2-40B4-BE49-F238E27FC236}">
                <a16:creationId xmlns:a16="http://schemas.microsoft.com/office/drawing/2014/main" id="{09B24B34-CA39-4C96-8B4B-1E12C07A3D2A}"/>
              </a:ext>
            </a:extLst>
          </p:cNvPr>
          <p:cNvSpPr/>
          <p:nvPr userDrawn="1"/>
        </p:nvSpPr>
        <p:spPr>
          <a:xfrm>
            <a:off x="5703580" y="6617406"/>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GB" dirty="0"/>
          </a:p>
        </p:txBody>
      </p:sp>
      <p:pic>
        <p:nvPicPr>
          <p:cNvPr id="27" name="Picture 26">
            <a:extLst>
              <a:ext uri="{FF2B5EF4-FFF2-40B4-BE49-F238E27FC236}">
                <a16:creationId xmlns:a16="http://schemas.microsoft.com/office/drawing/2014/main" id="{1ACC919E-3114-4294-853A-B2B8075485A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385146" y="4289313"/>
            <a:ext cx="3290247" cy="1409727"/>
          </a:xfrm>
          <a:prstGeom prst="rect">
            <a:avLst/>
          </a:prstGeom>
        </p:spPr>
      </p:pic>
      <p:pic>
        <p:nvPicPr>
          <p:cNvPr id="28" name="Picture 27">
            <a:extLst>
              <a:ext uri="{FF2B5EF4-FFF2-40B4-BE49-F238E27FC236}">
                <a16:creationId xmlns:a16="http://schemas.microsoft.com/office/drawing/2014/main" id="{28507983-75A8-462D-A4FB-ADED53A55C33}"/>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910676" y="4650619"/>
            <a:ext cx="1980241" cy="769026"/>
          </a:xfrm>
          <a:prstGeom prst="rect">
            <a:avLst/>
          </a:prstGeom>
        </p:spPr>
      </p:pic>
      <p:sp>
        <p:nvSpPr>
          <p:cNvPr id="15" name="Title 1">
            <a:extLst>
              <a:ext uri="{FF2B5EF4-FFF2-40B4-BE49-F238E27FC236}">
                <a16:creationId xmlns:a16="http://schemas.microsoft.com/office/drawing/2014/main" id="{0F750D90-5A13-4F52-9BEC-E72DFCC1A17F}"/>
              </a:ext>
            </a:extLst>
          </p:cNvPr>
          <p:cNvSpPr>
            <a:spLocks noGrp="1"/>
          </p:cNvSpPr>
          <p:nvPr>
            <p:ph type="ctrTitle"/>
          </p:nvPr>
        </p:nvSpPr>
        <p:spPr>
          <a:xfrm>
            <a:off x="1875951" y="2939443"/>
            <a:ext cx="8525349" cy="1240348"/>
          </a:xfrm>
        </p:spPr>
        <p:txBody>
          <a:bodyPr vert="horz" anchor="b">
            <a:noAutofit/>
          </a:bodyPr>
          <a:lstStyle>
            <a:lvl1pPr algn="l" rtl="0">
              <a:defRPr sz="3200">
                <a:solidFill>
                  <a:schemeClr val="bg1"/>
                </a:solidFill>
              </a:defRPr>
            </a:lvl1pPr>
          </a:lstStyle>
          <a:p>
            <a:r>
              <a:rPr lang="en-GB"/>
              <a:t>Click to edit Master title style</a:t>
            </a:r>
            <a:endParaRPr lang="en-GB" dirty="0"/>
          </a:p>
        </p:txBody>
      </p:sp>
      <p:sp>
        <p:nvSpPr>
          <p:cNvPr id="31" name="Subtitle 2">
            <a:extLst>
              <a:ext uri="{FF2B5EF4-FFF2-40B4-BE49-F238E27FC236}">
                <a16:creationId xmlns:a16="http://schemas.microsoft.com/office/drawing/2014/main" id="{7DD94322-DD01-4DA5-9025-E153512D3E7D}"/>
              </a:ext>
            </a:extLst>
          </p:cNvPr>
          <p:cNvSpPr>
            <a:spLocks noGrp="1"/>
          </p:cNvSpPr>
          <p:nvPr>
            <p:ph type="subTitle" idx="1" hasCustomPrompt="1"/>
          </p:nvPr>
        </p:nvSpPr>
        <p:spPr>
          <a:xfrm>
            <a:off x="11056216" y="1675023"/>
            <a:ext cx="1103074" cy="659777"/>
          </a:xfrm>
          <a:prstGeom prst="rect">
            <a:avLst/>
          </a:prstGeom>
        </p:spPr>
        <p:txBody>
          <a:bodyPr>
            <a:noAutofit/>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March</a:t>
            </a:r>
          </a:p>
          <a:p>
            <a:r>
              <a:rPr lang="en-GB"/>
              <a:t>2022</a:t>
            </a:r>
            <a:endParaRPr lang="en-GB" dirty="0"/>
          </a:p>
        </p:txBody>
      </p:sp>
      <p:sp>
        <p:nvSpPr>
          <p:cNvPr id="37" name="Text Placeholder 2">
            <a:extLst>
              <a:ext uri="{FF2B5EF4-FFF2-40B4-BE49-F238E27FC236}">
                <a16:creationId xmlns:a16="http://schemas.microsoft.com/office/drawing/2014/main" id="{156D27E9-FE56-4BCD-8596-7607B7360B91}"/>
              </a:ext>
            </a:extLst>
          </p:cNvPr>
          <p:cNvSpPr>
            <a:spLocks noGrp="1"/>
          </p:cNvSpPr>
          <p:nvPr>
            <p:ph idx="10" hasCustomPrompt="1"/>
          </p:nvPr>
        </p:nvSpPr>
        <p:spPr>
          <a:xfrm>
            <a:off x="9519516" y="1424462"/>
            <a:ext cx="1503990" cy="1240345"/>
          </a:xfrm>
          <a:prstGeom prst="rect">
            <a:avLst/>
          </a:prstGeom>
        </p:spPr>
        <p:txBody>
          <a:bodyPr vert="horz" lIns="91440" tIns="45720" rIns="91440" bIns="45720" rtlCol="0">
            <a:normAutofit/>
          </a:bodyPr>
          <a:lstStyle>
            <a:lvl1pPr marL="0" indent="0" rtl="0">
              <a:buNone/>
              <a:defRPr sz="9600">
                <a:solidFill>
                  <a:schemeClr val="bg1"/>
                </a:solidFill>
              </a:defRPr>
            </a:lvl1pPr>
          </a:lstStyle>
          <a:p>
            <a:pPr lvl="0"/>
            <a:r>
              <a:rPr lang="en-GB"/>
              <a:t>00</a:t>
            </a:r>
            <a:endParaRPr lang="en-GB" dirty="0"/>
          </a:p>
        </p:txBody>
      </p:sp>
      <p:sp>
        <p:nvSpPr>
          <p:cNvPr id="40" name="TextBox 39">
            <a:extLst>
              <a:ext uri="{FF2B5EF4-FFF2-40B4-BE49-F238E27FC236}">
                <a16:creationId xmlns:a16="http://schemas.microsoft.com/office/drawing/2014/main" id="{48AA0535-B553-4A37-96C2-237C39B7E345}"/>
              </a:ext>
            </a:extLst>
          </p:cNvPr>
          <p:cNvSpPr txBox="1"/>
          <p:nvPr userDrawn="1"/>
        </p:nvSpPr>
        <p:spPr>
          <a:xfrm>
            <a:off x="4217114" y="4698903"/>
            <a:ext cx="3302850" cy="1224566"/>
          </a:xfrm>
          <a:prstGeom prst="rect">
            <a:avLst/>
          </a:prstGeom>
          <a:noFill/>
        </p:spPr>
        <p:txBody>
          <a:bodyPr wrap="square" lIns="0" tIns="0" rIns="91440" bIns="0" rtlCol="0">
            <a:spAutoFit/>
          </a:bodyPr>
          <a:lstStyle/>
          <a:p>
            <a:pPr rtl="0"/>
            <a:r>
              <a:rPr lang="en-GB" sz="1400" b="1" kern="0" dirty="0">
                <a:solidFill>
                  <a:schemeClr val="bg1"/>
                </a:solidFill>
                <a:latin typeface="Verdana" charset="0"/>
                <a:cs typeface="Verdana" charset="0"/>
              </a:rPr>
              <a:t>Digital Europe Programme</a:t>
            </a:r>
            <a:endParaRPr lang="en-GB" sz="200" b="1" kern="0" dirty="0">
              <a:solidFill>
                <a:schemeClr val="bg1"/>
              </a:solidFill>
              <a:latin typeface="Verdana" charset="0"/>
              <a:cs typeface="Verdana" charset="0"/>
            </a:endParaRPr>
          </a:p>
          <a:p>
            <a:pPr rtl="0"/>
            <a:endParaRPr lang="en-GB" sz="200" b="1" kern="0" dirty="0">
              <a:solidFill>
                <a:schemeClr val="bg1"/>
              </a:solidFill>
              <a:latin typeface="Verdana" charset="0"/>
              <a:cs typeface="Verdana" charset="0"/>
            </a:endParaRPr>
          </a:p>
          <a:p>
            <a:pPr rtl="0"/>
            <a:r>
              <a:rPr lang="en-GB" sz="1200" b="1" kern="0" dirty="0">
                <a:solidFill>
                  <a:schemeClr val="bg1"/>
                </a:solidFill>
                <a:latin typeface="Verdana" charset="0"/>
                <a:cs typeface="Verdana" charset="0"/>
              </a:rPr>
              <a:t>Project Officers:</a:t>
            </a:r>
          </a:p>
          <a:p>
            <a:pPr rtl="0"/>
            <a:r>
              <a:rPr lang="en-GB" sz="1200" kern="0" dirty="0">
                <a:solidFill>
                  <a:schemeClr val="bg1"/>
                </a:solidFill>
              </a:rPr>
              <a:t>Bernard CLAES</a:t>
            </a:r>
          </a:p>
          <a:p>
            <a:pPr rtl="0"/>
            <a:r>
              <a:rPr lang="en-GB" sz="1200" kern="0" dirty="0">
                <a:solidFill>
                  <a:schemeClr val="bg1"/>
                </a:solidFill>
              </a:rPr>
              <a:t>Victoria KALOGIROU</a:t>
            </a:r>
          </a:p>
          <a:p>
            <a:pPr rtl="0"/>
            <a:r>
              <a:rPr lang="en-GB" sz="1200" kern="0" dirty="0">
                <a:solidFill>
                  <a:schemeClr val="bg1"/>
                </a:solidFill>
              </a:rPr>
              <a:t>Miguel ALVAREZ RODRIGUEZ</a:t>
            </a:r>
          </a:p>
          <a:p>
            <a:pPr rtl="0">
              <a:lnSpc>
                <a:spcPct val="150000"/>
              </a:lnSpc>
            </a:pPr>
            <a:endParaRPr lang="en-GB" sz="1200" kern="0" dirty="0">
              <a:solidFill>
                <a:schemeClr val="bg1"/>
              </a:solidFill>
              <a:latin typeface="Verdana" charset="0"/>
              <a:cs typeface="Verdana" charset="0"/>
            </a:endParaRPr>
          </a:p>
        </p:txBody>
      </p:sp>
    </p:spTree>
    <p:extLst>
      <p:ext uri="{BB962C8B-B14F-4D97-AF65-F5344CB8AC3E}">
        <p14:creationId xmlns:p14="http://schemas.microsoft.com/office/powerpoint/2010/main" val="2606878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A256C5-02CF-4B40-9140-EA8829E50346}"/>
              </a:ext>
            </a:extLst>
          </p:cNvPr>
          <p:cNvGraphicFramePr>
            <a:graphicFrameLocks noChangeAspect="1"/>
          </p:cNvGraphicFramePr>
          <p:nvPr userDrawn="1">
            <p:custDataLst>
              <p:tags r:id="rId1"/>
            </p:custDataLst>
            <p:extLst>
              <p:ext uri="{D42A27DB-BD31-4B8C-83A1-F6EECF244321}">
                <p14:modId xmlns:p14="http://schemas.microsoft.com/office/powerpoint/2010/main" val="2258282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A1A256C5-02CF-4B40-9140-EA8829E503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hasCustomPrompt="1"/>
          </p:nvPr>
        </p:nvSpPr>
        <p:spPr>
          <a:xfrm>
            <a:off x="838198" y="1825625"/>
            <a:ext cx="5328000" cy="3906435"/>
          </a:xfrm>
          <a:prstGeom prst="rect">
            <a:avLst/>
          </a:prstGeom>
        </p:spPr>
        <p:txBody>
          <a:bodyPr>
            <a:noAutofit/>
          </a:bodyPr>
          <a:lstStyle>
            <a:lvl1pPr rtl="0">
              <a:spcAft>
                <a:spcPts val="1800"/>
              </a:spcAft>
              <a:defRPr/>
            </a:lvl1pPr>
            <a:lvl2pPr rtl="0">
              <a:spcAft>
                <a:spcPts val="1800"/>
              </a:spcAft>
              <a:defRPr/>
            </a:lvl2pPr>
            <a:lvl3pPr rtl="0">
              <a:spcAft>
                <a:spcPts val="1800"/>
              </a:spcAft>
              <a:defRPr/>
            </a:lvl3pPr>
            <a:lvl4pPr rtl="0">
              <a:spcAft>
                <a:spcPts val="1800"/>
              </a:spcAft>
              <a:defRPr/>
            </a:lvl4pPr>
            <a:lvl5pPr rtl="0">
              <a:spcAft>
                <a:spcPts val="1800"/>
              </a:spcAft>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hasCustomPrompt="1"/>
          </p:nvPr>
        </p:nvSpPr>
        <p:spPr>
          <a:xfrm>
            <a:off x="6402250" y="1825625"/>
            <a:ext cx="5328000" cy="3906435"/>
          </a:xfrm>
          <a:prstGeom prst="rect">
            <a:avLst/>
          </a:prstGeom>
          <a:noFill/>
        </p:spPr>
        <p:txBody>
          <a:bodyPr>
            <a:noAutofit/>
          </a:bodyPr>
          <a:lstStyle>
            <a:lvl1pPr marL="0" indent="0" rtl="0">
              <a:buNone/>
              <a:defRPr/>
            </a:lvl1pPr>
          </a:lstStyle>
          <a:p>
            <a:pPr lvl="0"/>
            <a:r>
              <a:rPr lang="en-GB"/>
              <a:t>Edit Master text styles</a:t>
            </a:r>
            <a:endParaRPr lang="en-GB" dirty="0"/>
          </a:p>
        </p:txBody>
      </p:sp>
      <p:sp>
        <p:nvSpPr>
          <p:cNvPr id="11" name="Title Placeholder 1"/>
          <p:cNvSpPr>
            <a:spLocks noGrp="1"/>
          </p:cNvSpPr>
          <p:nvPr>
            <p:ph type="title"/>
          </p:nvPr>
        </p:nvSpPr>
        <p:spPr>
          <a:xfrm>
            <a:off x="970722" y="482860"/>
            <a:ext cx="8664597" cy="782357"/>
          </a:xfrm>
          <a:prstGeom prst="rect">
            <a:avLst/>
          </a:prstGeom>
        </p:spPr>
        <p:txBody>
          <a:bodyPr vert="horz" lIns="91440" tIns="45720" rIns="91440" bIns="0" rtlCol="0" anchor="b" anchorCtr="0">
            <a:noAutofit/>
          </a:bodyPr>
          <a:lstStyle>
            <a:lvl1pPr rtl="0">
              <a:defRPr>
                <a:solidFill>
                  <a:schemeClr val="tx2">
                    <a:lumMod val="50000"/>
                  </a:schemeClr>
                </a:solidFill>
              </a:defRPr>
            </a:lvl1pPr>
          </a:lstStyle>
          <a:p>
            <a:r>
              <a:rPr lang="en-GB"/>
              <a:t>Click to edit Master title style</a:t>
            </a:r>
            <a:endParaRPr lang="en-GB" dirty="0"/>
          </a:p>
        </p:txBody>
      </p:sp>
      <p:cxnSp>
        <p:nvCxnSpPr>
          <p:cNvPr id="10" name="Straight Connector 9">
            <a:extLst>
              <a:ext uri="{FF2B5EF4-FFF2-40B4-BE49-F238E27FC236}">
                <a16:creationId xmlns:a16="http://schemas.microsoft.com/office/drawing/2014/main" id="{1C04041F-D31A-4E27-A347-A90EB7E1156A}"/>
              </a:ext>
            </a:extLst>
          </p:cNvPr>
          <p:cNvCxnSpPr>
            <a:cxnSpLocks/>
          </p:cNvCxnSpPr>
          <p:nvPr userDrawn="1"/>
        </p:nvCxnSpPr>
        <p:spPr>
          <a:xfrm>
            <a:off x="838200" y="0"/>
            <a:ext cx="0" cy="1265217"/>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2369312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F1E709-DAB0-4998-8B0C-B3B80BAFEAE3}"/>
              </a:ext>
            </a:extLst>
          </p:cNvPr>
          <p:cNvGraphicFramePr>
            <a:graphicFrameLocks noChangeAspect="1"/>
          </p:cNvGraphicFramePr>
          <p:nvPr userDrawn="1">
            <p:custDataLst>
              <p:tags r:id="rId1"/>
            </p:custDataLst>
            <p:extLst>
              <p:ext uri="{D42A27DB-BD31-4B8C-83A1-F6EECF244321}">
                <p14:modId xmlns:p14="http://schemas.microsoft.com/office/powerpoint/2010/main" val="376397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F8F1E709-DAB0-4998-8B0C-B3B80BAFEA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hasCustomPrompt="1"/>
          </p:nvPr>
        </p:nvSpPr>
        <p:spPr>
          <a:xfrm>
            <a:off x="838198" y="1825625"/>
            <a:ext cx="5328000" cy="3906435"/>
          </a:xfrm>
          <a:prstGeom prst="rect">
            <a:avLst/>
          </a:prstGeom>
        </p:spPr>
        <p:txBody>
          <a:bodyPr>
            <a:noAutofit/>
          </a:bodyPr>
          <a:lstStyle>
            <a:lvl1pPr rtl="0">
              <a:defRPr/>
            </a:lvl1pPr>
            <a:lvl2pPr rtl="0">
              <a:defRPr/>
            </a:lvl2pPr>
            <a:lvl3pPr rtl="0">
              <a:spcBef>
                <a:spcPts val="0"/>
              </a:spcBef>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hasCustomPrompt="1"/>
          </p:nvPr>
        </p:nvSpPr>
        <p:spPr>
          <a:xfrm>
            <a:off x="6402250" y="1825625"/>
            <a:ext cx="5328000" cy="3906435"/>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Title Placeholder 1"/>
          <p:cNvSpPr>
            <a:spLocks noGrp="1"/>
          </p:cNvSpPr>
          <p:nvPr>
            <p:ph type="title"/>
          </p:nvPr>
        </p:nvSpPr>
        <p:spPr>
          <a:xfrm>
            <a:off x="970722" y="482860"/>
            <a:ext cx="8664597" cy="782357"/>
          </a:xfrm>
          <a:prstGeom prst="rect">
            <a:avLst/>
          </a:prstGeom>
        </p:spPr>
        <p:txBody>
          <a:bodyPr vert="horz" lIns="91440" tIns="45720" rIns="91440" bIns="0" rtlCol="0" anchor="b" anchorCtr="0">
            <a:noAutofit/>
          </a:bodyPr>
          <a:lstStyle>
            <a:lvl1pPr rtl="0">
              <a:defRPr>
                <a:solidFill>
                  <a:schemeClr val="tx2">
                    <a:lumMod val="50000"/>
                  </a:schemeClr>
                </a:solidFill>
              </a:defRPr>
            </a:lvl1pPr>
          </a:lstStyle>
          <a:p>
            <a:r>
              <a:rPr lang="en-GB"/>
              <a:t>Click to edit Master title style</a:t>
            </a:r>
            <a:endParaRPr lang="en-GB" dirty="0"/>
          </a:p>
        </p:txBody>
      </p:sp>
      <p:cxnSp>
        <p:nvCxnSpPr>
          <p:cNvPr id="11" name="Straight Connector 10">
            <a:extLst>
              <a:ext uri="{FF2B5EF4-FFF2-40B4-BE49-F238E27FC236}">
                <a16:creationId xmlns:a16="http://schemas.microsoft.com/office/drawing/2014/main" id="{6C769B06-9870-4120-A927-4F79DFA23DF9}"/>
              </a:ext>
            </a:extLst>
          </p:cNvPr>
          <p:cNvCxnSpPr>
            <a:cxnSpLocks/>
          </p:cNvCxnSpPr>
          <p:nvPr userDrawn="1"/>
        </p:nvCxnSpPr>
        <p:spPr>
          <a:xfrm>
            <a:off x="838200" y="0"/>
            <a:ext cx="0" cy="1265217"/>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2956294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23DAF-6758-43F8-A8F1-6E966031F881}"/>
              </a:ext>
            </a:extLst>
          </p:cNvPr>
          <p:cNvGraphicFramePr>
            <a:graphicFrameLocks noChangeAspect="1"/>
          </p:cNvGraphicFramePr>
          <p:nvPr userDrawn="1">
            <p:custDataLst>
              <p:tags r:id="rId1"/>
            </p:custDataLst>
            <p:extLst>
              <p:ext uri="{D42A27DB-BD31-4B8C-83A1-F6EECF244321}">
                <p14:modId xmlns:p14="http://schemas.microsoft.com/office/powerpoint/2010/main" val="1944514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AB923DAF-6758-43F8-A8F1-6E966031F8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half" idx="1" hasCustomPrompt="1"/>
          </p:nvPr>
        </p:nvSpPr>
        <p:spPr>
          <a:xfrm>
            <a:off x="838198" y="1825626"/>
            <a:ext cx="3358489" cy="3763134"/>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Content Placeholder 2"/>
          <p:cNvSpPr>
            <a:spLocks noGrp="1"/>
          </p:cNvSpPr>
          <p:nvPr>
            <p:ph sz="half" idx="13" hasCustomPrompt="1"/>
          </p:nvPr>
        </p:nvSpPr>
        <p:spPr>
          <a:xfrm>
            <a:off x="4604979" y="1825625"/>
            <a:ext cx="3358489" cy="3763134"/>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Content Placeholder 2"/>
          <p:cNvSpPr>
            <a:spLocks noGrp="1"/>
          </p:cNvSpPr>
          <p:nvPr>
            <p:ph sz="half" idx="14" hasCustomPrompt="1"/>
          </p:nvPr>
        </p:nvSpPr>
        <p:spPr>
          <a:xfrm>
            <a:off x="8371761" y="1825625"/>
            <a:ext cx="3358489" cy="3763134"/>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Title Placeholder 1"/>
          <p:cNvSpPr>
            <a:spLocks noGrp="1"/>
          </p:cNvSpPr>
          <p:nvPr>
            <p:ph type="title"/>
          </p:nvPr>
        </p:nvSpPr>
        <p:spPr>
          <a:xfrm>
            <a:off x="970722" y="482860"/>
            <a:ext cx="8664597" cy="782357"/>
          </a:xfrm>
          <a:prstGeom prst="rect">
            <a:avLst/>
          </a:prstGeom>
        </p:spPr>
        <p:txBody>
          <a:bodyPr vert="horz" lIns="91440" tIns="45720" rIns="91440" bIns="0" rtlCol="0" anchor="b" anchorCtr="0">
            <a:noAutofit/>
          </a:bodyPr>
          <a:lstStyle>
            <a:lvl1pPr rtl="0">
              <a:defRPr>
                <a:solidFill>
                  <a:schemeClr val="tx2">
                    <a:lumMod val="50000"/>
                  </a:schemeClr>
                </a:solidFill>
              </a:defRPr>
            </a:lvl1pPr>
          </a:lstStyle>
          <a:p>
            <a:r>
              <a:rPr lang="en-GB"/>
              <a:t>Click to edit Master title style</a:t>
            </a:r>
            <a:endParaRPr lang="en-GB" dirty="0"/>
          </a:p>
        </p:txBody>
      </p:sp>
      <p:cxnSp>
        <p:nvCxnSpPr>
          <p:cNvPr id="12" name="Straight Connector 11">
            <a:extLst>
              <a:ext uri="{FF2B5EF4-FFF2-40B4-BE49-F238E27FC236}">
                <a16:creationId xmlns:a16="http://schemas.microsoft.com/office/drawing/2014/main" id="{1EE67030-D0CD-45A6-B079-7E959987D6D3}"/>
              </a:ext>
            </a:extLst>
          </p:cNvPr>
          <p:cNvCxnSpPr>
            <a:cxnSpLocks/>
          </p:cNvCxnSpPr>
          <p:nvPr userDrawn="1"/>
        </p:nvCxnSpPr>
        <p:spPr>
          <a:xfrm>
            <a:off x="838200" y="0"/>
            <a:ext cx="0" cy="1265217"/>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2796948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08DF042-5F41-4A24-B038-5A12AF732C7D}"/>
              </a:ext>
            </a:extLst>
          </p:cNvPr>
          <p:cNvGraphicFramePr>
            <a:graphicFrameLocks noChangeAspect="1"/>
          </p:cNvGraphicFramePr>
          <p:nvPr userDrawn="1">
            <p:custDataLst>
              <p:tags r:id="rId1"/>
            </p:custDataLst>
            <p:extLst>
              <p:ext uri="{D42A27DB-BD31-4B8C-83A1-F6EECF244321}">
                <p14:modId xmlns:p14="http://schemas.microsoft.com/office/powerpoint/2010/main" val="4271150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Object 6" hidden="1">
                        <a:extLst>
                          <a:ext uri="{FF2B5EF4-FFF2-40B4-BE49-F238E27FC236}">
                            <a16:creationId xmlns:a16="http://schemas.microsoft.com/office/drawing/2014/main" id="{308DF042-5F41-4A24-B038-5A12AF732C7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hasCustomPrompt="1"/>
          </p:nvPr>
        </p:nvSpPr>
        <p:spPr>
          <a:xfrm>
            <a:off x="839788" y="1681163"/>
            <a:ext cx="5157787" cy="823912"/>
          </a:xfrm>
          <a:prstGeom prst="rect">
            <a:avLst/>
          </a:prstGeom>
        </p:spPr>
        <p:txBody>
          <a:bodyPr wrap="square" anchor="b">
            <a:noAutofit/>
          </a:bodyPr>
          <a:lstStyle>
            <a:lvl1pPr marL="0" indent="0" rtl="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Edit Master text styles</a:t>
            </a:r>
            <a:endParaRPr lang="en-GB" dirty="0"/>
          </a:p>
        </p:txBody>
      </p:sp>
      <p:sp>
        <p:nvSpPr>
          <p:cNvPr id="4" name="Content Placeholder 3"/>
          <p:cNvSpPr>
            <a:spLocks noGrp="1"/>
          </p:cNvSpPr>
          <p:nvPr>
            <p:ph sz="half" idx="2" hasCustomPrompt="1"/>
          </p:nvPr>
        </p:nvSpPr>
        <p:spPr>
          <a:xfrm>
            <a:off x="839788" y="2505075"/>
            <a:ext cx="5157787" cy="3097331"/>
          </a:xfrm>
          <a:prstGeom prst="rect">
            <a:avLst/>
          </a:prstGeom>
        </p:spPr>
        <p:txBody>
          <a:bodyPr wrap="square">
            <a:noAutofit/>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 Placeholder 4"/>
          <p:cNvSpPr>
            <a:spLocks noGrp="1"/>
          </p:cNvSpPr>
          <p:nvPr>
            <p:ph type="body" sz="quarter" idx="3" hasCustomPrompt="1"/>
          </p:nvPr>
        </p:nvSpPr>
        <p:spPr>
          <a:xfrm>
            <a:off x="6172200" y="1681163"/>
            <a:ext cx="5183188" cy="823912"/>
          </a:xfrm>
          <a:prstGeom prst="rect">
            <a:avLst/>
          </a:prstGeom>
          <a:noFill/>
        </p:spPr>
        <p:txBody>
          <a:bodyPr wrap="square" anchor="b">
            <a:noAutofit/>
          </a:bodyPr>
          <a:lstStyle>
            <a:lvl1pPr marL="0" indent="0" rtl="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Edit Master text styles</a:t>
            </a:r>
            <a:endParaRPr lang="en-GB" dirty="0"/>
          </a:p>
        </p:txBody>
      </p:sp>
      <p:sp>
        <p:nvSpPr>
          <p:cNvPr id="6" name="Content Placeholder 5"/>
          <p:cNvSpPr>
            <a:spLocks noGrp="1"/>
          </p:cNvSpPr>
          <p:nvPr>
            <p:ph sz="quarter" idx="4" hasCustomPrompt="1"/>
          </p:nvPr>
        </p:nvSpPr>
        <p:spPr>
          <a:xfrm>
            <a:off x="6172200" y="2505075"/>
            <a:ext cx="5183188" cy="3097331"/>
          </a:xfrm>
          <a:prstGeom prst="rect">
            <a:avLst/>
          </a:prstGeom>
        </p:spPr>
        <p:txBody>
          <a:bodyPr wrap="square">
            <a:noAutofit/>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4" name="Title Placeholder 1"/>
          <p:cNvSpPr>
            <a:spLocks noGrp="1"/>
          </p:cNvSpPr>
          <p:nvPr>
            <p:ph type="title"/>
          </p:nvPr>
        </p:nvSpPr>
        <p:spPr>
          <a:xfrm>
            <a:off x="970722" y="482860"/>
            <a:ext cx="8664597" cy="782357"/>
          </a:xfrm>
          <a:prstGeom prst="rect">
            <a:avLst/>
          </a:prstGeom>
        </p:spPr>
        <p:txBody>
          <a:bodyPr vert="horz" lIns="91440" tIns="45720" rIns="91440" bIns="0" rtlCol="0" anchor="b" anchorCtr="0">
            <a:noAutofit/>
          </a:bodyPr>
          <a:lstStyle>
            <a:lvl1pPr rtl="0">
              <a:defRPr>
                <a:solidFill>
                  <a:schemeClr val="tx2">
                    <a:lumMod val="50000"/>
                  </a:schemeClr>
                </a:solidFill>
              </a:defRPr>
            </a:lvl1pPr>
          </a:lstStyle>
          <a:p>
            <a:r>
              <a:rPr lang="en-GB"/>
              <a:t>Click to edit Master title style</a:t>
            </a:r>
            <a:endParaRPr lang="en-GB" dirty="0"/>
          </a:p>
        </p:txBody>
      </p:sp>
      <p:cxnSp>
        <p:nvCxnSpPr>
          <p:cNvPr id="12" name="Straight Connector 11">
            <a:extLst>
              <a:ext uri="{FF2B5EF4-FFF2-40B4-BE49-F238E27FC236}">
                <a16:creationId xmlns:a16="http://schemas.microsoft.com/office/drawing/2014/main" id="{D618BAAA-70B9-44B5-81F6-322B0784F863}"/>
              </a:ext>
            </a:extLst>
          </p:cNvPr>
          <p:cNvCxnSpPr>
            <a:cxnSpLocks/>
          </p:cNvCxnSpPr>
          <p:nvPr userDrawn="1"/>
        </p:nvCxnSpPr>
        <p:spPr>
          <a:xfrm>
            <a:off x="838200" y="0"/>
            <a:ext cx="0" cy="1265217"/>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17005623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63D26D-996A-4EFB-8819-79E51DDAE819}"/>
              </a:ext>
            </a:extLst>
          </p:cNvPr>
          <p:cNvGraphicFramePr>
            <a:graphicFrameLocks noChangeAspect="1"/>
          </p:cNvGraphicFramePr>
          <p:nvPr userDrawn="1">
            <p:custDataLst>
              <p:tags r:id="rId1"/>
            </p:custDataLst>
            <p:extLst>
              <p:ext uri="{D42A27DB-BD31-4B8C-83A1-F6EECF244321}">
                <p14:modId xmlns:p14="http://schemas.microsoft.com/office/powerpoint/2010/main" val="3587057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3863D26D-996A-4EFB-8819-79E51DDAE8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Placeholder 1"/>
          <p:cNvSpPr>
            <a:spLocks noGrp="1"/>
          </p:cNvSpPr>
          <p:nvPr>
            <p:ph type="title"/>
          </p:nvPr>
        </p:nvSpPr>
        <p:spPr>
          <a:xfrm>
            <a:off x="970722" y="482860"/>
            <a:ext cx="8664597" cy="782357"/>
          </a:xfrm>
          <a:prstGeom prst="rect">
            <a:avLst/>
          </a:prstGeom>
        </p:spPr>
        <p:txBody>
          <a:bodyPr vert="horz" lIns="91440" tIns="45720" rIns="91440" bIns="0" rtlCol="0" anchor="b" anchorCtr="0">
            <a:noAutofit/>
          </a:bodyPr>
          <a:lstStyle>
            <a:lvl1pPr rtl="0">
              <a:defRPr>
                <a:solidFill>
                  <a:schemeClr val="tx2">
                    <a:lumMod val="50000"/>
                  </a:schemeClr>
                </a:solidFill>
              </a:defRPr>
            </a:lvl1pPr>
          </a:lstStyle>
          <a:p>
            <a:r>
              <a:rPr lang="en-GB"/>
              <a:t>Click to edit Master title style</a:t>
            </a:r>
            <a:endParaRPr lang="en-GB" dirty="0"/>
          </a:p>
        </p:txBody>
      </p:sp>
      <p:cxnSp>
        <p:nvCxnSpPr>
          <p:cNvPr id="8" name="Straight Connector 7">
            <a:extLst>
              <a:ext uri="{FF2B5EF4-FFF2-40B4-BE49-F238E27FC236}">
                <a16:creationId xmlns:a16="http://schemas.microsoft.com/office/drawing/2014/main" id="{B50FF3EF-CFC4-422D-85E0-5931A521533A}"/>
              </a:ext>
            </a:extLst>
          </p:cNvPr>
          <p:cNvCxnSpPr>
            <a:cxnSpLocks/>
          </p:cNvCxnSpPr>
          <p:nvPr userDrawn="1"/>
        </p:nvCxnSpPr>
        <p:spPr>
          <a:xfrm>
            <a:off x="838200" y="0"/>
            <a:ext cx="0" cy="1265217"/>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10107377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1EB6800-97DF-4E76-8A2A-28E3CF60DCC9}"/>
              </a:ext>
            </a:extLst>
          </p:cNvPr>
          <p:cNvGraphicFramePr>
            <a:graphicFrameLocks noChangeAspect="1"/>
          </p:cNvGraphicFramePr>
          <p:nvPr userDrawn="1">
            <p:custDataLst>
              <p:tags r:id="rId1"/>
            </p:custDataLst>
            <p:extLst>
              <p:ext uri="{D42A27DB-BD31-4B8C-83A1-F6EECF244321}">
                <p14:modId xmlns:p14="http://schemas.microsoft.com/office/powerpoint/2010/main" val="406704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31EB6800-97DF-4E76-8A2A-28E3CF60DC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3"/>
          </p:nvPr>
        </p:nvSpPr>
        <p:spPr>
          <a:xfrm>
            <a:off x="-59635" y="-59635"/>
            <a:ext cx="6155635" cy="6983896"/>
          </a:xfrm>
          <a:prstGeom prst="rect">
            <a:avLst/>
          </a:prstGeom>
          <a:solidFill>
            <a:schemeClr val="bg2"/>
          </a:solidFill>
          <a:ln w="28575">
            <a:solidFill>
              <a:schemeClr val="accent2">
                <a:lumMod val="40000"/>
                <a:lumOff val="60000"/>
              </a:schemeClr>
            </a:solidFill>
          </a:ln>
        </p:spPr>
        <p:txBody>
          <a:bodyPr/>
          <a:lstStyle>
            <a:lvl1pPr rtl="0">
              <a:defRPr/>
            </a:lvl1pPr>
          </a:lstStyle>
          <a:p>
            <a:r>
              <a:rPr lang="en-GB"/>
              <a:t>Click icon to add picture</a:t>
            </a:r>
            <a:endParaRPr lang="en-GB" dirty="0"/>
          </a:p>
        </p:txBody>
      </p:sp>
      <p:sp>
        <p:nvSpPr>
          <p:cNvPr id="10" name="Rectangle 9"/>
          <p:cNvSpPr/>
          <p:nvPr userDrawn="1"/>
        </p:nvSpPr>
        <p:spPr>
          <a:xfrm>
            <a:off x="3214048" y="1992573"/>
            <a:ext cx="8550322" cy="361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3" name="Content Placeholder 2"/>
          <p:cNvSpPr>
            <a:spLocks noGrp="1"/>
          </p:cNvSpPr>
          <p:nvPr>
            <p:ph idx="1" hasCustomPrompt="1"/>
          </p:nvPr>
        </p:nvSpPr>
        <p:spPr>
          <a:xfrm>
            <a:off x="3538330" y="1725872"/>
            <a:ext cx="8226040" cy="3616657"/>
          </a:xfrm>
          <a:prstGeom prst="rect">
            <a:avLst/>
          </a:prstGeom>
          <a:solidFill>
            <a:schemeClr val="bg1"/>
          </a:solidFill>
        </p:spPr>
        <p:txBody>
          <a:bodyPr lIns="360000" tIns="360000" rIns="360000" bIns="360000" anchor="ctr" anchorCtr="0">
            <a:noAutofit/>
          </a:bodyPr>
          <a:lstStyle>
            <a:lvl1pPr marL="0" indent="0" rtl="0">
              <a:buFontTx/>
              <a:buNone/>
              <a:defRPr i="1">
                <a:solidFill>
                  <a:schemeClr val="tx2"/>
                </a:solidFill>
              </a:defRPr>
            </a:lvl1pPr>
          </a:lstStyle>
          <a:p>
            <a:pPr lvl="0"/>
            <a:r>
              <a:rPr lang="en-GB"/>
              <a:t>Edit Master text styles</a:t>
            </a:r>
            <a:endParaRPr lang="en-GB" dirty="0"/>
          </a:p>
        </p:txBody>
      </p:sp>
    </p:spTree>
    <p:extLst>
      <p:ext uri="{BB962C8B-B14F-4D97-AF65-F5344CB8AC3E}">
        <p14:creationId xmlns:p14="http://schemas.microsoft.com/office/powerpoint/2010/main" val="17749949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A94DAFD-21D1-4983-BA57-EEBD7621C4D1}"/>
              </a:ext>
            </a:extLst>
          </p:cNvPr>
          <p:cNvGraphicFramePr>
            <a:graphicFrameLocks noChangeAspect="1"/>
          </p:cNvGraphicFramePr>
          <p:nvPr userDrawn="1">
            <p:custDataLst>
              <p:tags r:id="rId1"/>
            </p:custDataLst>
            <p:extLst>
              <p:ext uri="{D42A27DB-BD31-4B8C-83A1-F6EECF244321}">
                <p14:modId xmlns:p14="http://schemas.microsoft.com/office/powerpoint/2010/main" val="2217225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0A94DAFD-21D1-4983-BA57-EEBD7621C4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6817056" y="2014220"/>
            <a:ext cx="4926841" cy="3769957"/>
          </a:xfrm>
          <a:prstGeom prst="rect">
            <a:avLst/>
          </a:prstGeom>
        </p:spPr>
        <p:txBody>
          <a:bodyPr>
            <a:noAutofit/>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itle Placeholder 1"/>
          <p:cNvSpPr>
            <a:spLocks noGrp="1"/>
          </p:cNvSpPr>
          <p:nvPr>
            <p:ph type="title"/>
          </p:nvPr>
        </p:nvSpPr>
        <p:spPr>
          <a:xfrm>
            <a:off x="6817056" y="1043268"/>
            <a:ext cx="4669266" cy="782357"/>
          </a:xfrm>
          <a:prstGeom prst="rect">
            <a:avLst/>
          </a:prstGeom>
        </p:spPr>
        <p:txBody>
          <a:bodyPr vert="horz" lIns="91440" tIns="45720" rIns="91440" bIns="0" rtlCol="0" anchor="b" anchorCtr="0">
            <a:noAutofit/>
          </a:bodyPr>
          <a:lstStyle>
            <a:lvl1pPr rtl="0">
              <a:defRPr>
                <a:solidFill>
                  <a:schemeClr val="tx2">
                    <a:lumMod val="50000"/>
                  </a:schemeClr>
                </a:solidFill>
              </a:defRPr>
            </a:lvl1pPr>
          </a:lstStyle>
          <a:p>
            <a:r>
              <a:rPr lang="en-GB"/>
              <a:t>Click to edit Master title style</a:t>
            </a:r>
            <a:endParaRPr lang="en-GB" dirty="0"/>
          </a:p>
        </p:txBody>
      </p:sp>
      <p:sp>
        <p:nvSpPr>
          <p:cNvPr id="7" name="Picture Placeholder 4"/>
          <p:cNvSpPr>
            <a:spLocks noGrp="1"/>
          </p:cNvSpPr>
          <p:nvPr>
            <p:ph type="pic" sz="quarter" idx="13"/>
          </p:nvPr>
        </p:nvSpPr>
        <p:spPr>
          <a:xfrm>
            <a:off x="-46383" y="1043268"/>
            <a:ext cx="6142383" cy="4814608"/>
          </a:xfrm>
          <a:prstGeom prst="rect">
            <a:avLst/>
          </a:prstGeom>
          <a:solidFill>
            <a:schemeClr val="bg2"/>
          </a:solidFill>
          <a:ln w="28575">
            <a:solidFill>
              <a:schemeClr val="accent2">
                <a:lumMod val="40000"/>
                <a:lumOff val="60000"/>
              </a:schemeClr>
            </a:solidFill>
          </a:ln>
        </p:spPr>
        <p:txBody>
          <a:bodyPr/>
          <a:lstStyle>
            <a:lvl1pPr rtl="0">
              <a:defRPr/>
            </a:lvl1pPr>
          </a:lstStyle>
          <a:p>
            <a:r>
              <a:rPr lang="en-GB"/>
              <a:t>Click icon to add picture</a:t>
            </a:r>
            <a:endParaRPr lang="en-GB" dirty="0"/>
          </a:p>
        </p:txBody>
      </p:sp>
    </p:spTree>
    <p:extLst>
      <p:ext uri="{BB962C8B-B14F-4D97-AF65-F5344CB8AC3E}">
        <p14:creationId xmlns:p14="http://schemas.microsoft.com/office/powerpoint/2010/main" val="29984410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ADA3606-98D9-4263-A6E9-73D3D0C567FA}"/>
              </a:ext>
            </a:extLst>
          </p:cNvPr>
          <p:cNvGraphicFramePr>
            <a:graphicFrameLocks noChangeAspect="1"/>
          </p:cNvGraphicFramePr>
          <p:nvPr userDrawn="1">
            <p:custDataLst>
              <p:tags r:id="rId1"/>
            </p:custDataLst>
            <p:extLst>
              <p:ext uri="{D42A27DB-BD31-4B8C-83A1-F6EECF244321}">
                <p14:modId xmlns:p14="http://schemas.microsoft.com/office/powerpoint/2010/main" val="1740281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8ADA3606-98D9-4263-A6E9-73D3D0C567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p:cNvSpPr>
            <a:spLocks noGrp="1"/>
          </p:cNvSpPr>
          <p:nvPr>
            <p:ph type="pic" sz="quarter" idx="13"/>
          </p:nvPr>
        </p:nvSpPr>
        <p:spPr>
          <a:xfrm>
            <a:off x="970722" y="2284667"/>
            <a:ext cx="3141663" cy="2090737"/>
          </a:xfrm>
          <a:prstGeom prst="rect">
            <a:avLst/>
          </a:prstGeom>
          <a:solidFill>
            <a:schemeClr val="bg2"/>
          </a:solidFill>
        </p:spPr>
        <p:txBody>
          <a:bodyPr/>
          <a:lstStyle>
            <a:lvl1pPr rtl="0">
              <a:defRPr/>
            </a:lvl1pPr>
          </a:lstStyle>
          <a:p>
            <a:r>
              <a:rPr lang="en-GB"/>
              <a:t>Click icon to add picture</a:t>
            </a:r>
            <a:endParaRPr lang="en-GB" dirty="0"/>
          </a:p>
        </p:txBody>
      </p:sp>
      <p:sp>
        <p:nvSpPr>
          <p:cNvPr id="11" name="Picture Placeholder 2"/>
          <p:cNvSpPr>
            <a:spLocks noGrp="1"/>
          </p:cNvSpPr>
          <p:nvPr>
            <p:ph type="pic" sz="quarter" idx="14"/>
          </p:nvPr>
        </p:nvSpPr>
        <p:spPr>
          <a:xfrm>
            <a:off x="7901451" y="2284668"/>
            <a:ext cx="3141663" cy="2090737"/>
          </a:xfrm>
          <a:prstGeom prst="rect">
            <a:avLst/>
          </a:prstGeom>
          <a:solidFill>
            <a:schemeClr val="bg2"/>
          </a:solidFill>
        </p:spPr>
        <p:txBody>
          <a:bodyPr/>
          <a:lstStyle>
            <a:lvl1pPr rtl="0">
              <a:defRPr/>
            </a:lvl1pPr>
          </a:lstStyle>
          <a:p>
            <a:r>
              <a:rPr lang="en-GB"/>
              <a:t>Click icon to add picture</a:t>
            </a:r>
            <a:endParaRPr lang="en-GB" dirty="0"/>
          </a:p>
        </p:txBody>
      </p:sp>
      <p:sp>
        <p:nvSpPr>
          <p:cNvPr id="12" name="Picture Placeholder 2"/>
          <p:cNvSpPr>
            <a:spLocks noGrp="1"/>
          </p:cNvSpPr>
          <p:nvPr>
            <p:ph type="pic" sz="quarter" idx="15"/>
          </p:nvPr>
        </p:nvSpPr>
        <p:spPr>
          <a:xfrm>
            <a:off x="4436086" y="2284667"/>
            <a:ext cx="3141663" cy="2090737"/>
          </a:xfrm>
          <a:prstGeom prst="rect">
            <a:avLst/>
          </a:prstGeom>
          <a:solidFill>
            <a:schemeClr val="bg2"/>
          </a:solidFill>
        </p:spPr>
        <p:txBody>
          <a:bodyPr/>
          <a:lstStyle>
            <a:lvl1pPr rtl="0">
              <a:defRPr/>
            </a:lvl1pPr>
          </a:lstStyle>
          <a:p>
            <a:r>
              <a:rPr lang="en-GB"/>
              <a:t>Click icon to add picture</a:t>
            </a:r>
            <a:endParaRPr lang="en-GB" dirty="0"/>
          </a:p>
        </p:txBody>
      </p:sp>
      <p:sp>
        <p:nvSpPr>
          <p:cNvPr id="13" name="Text Placeholder 12"/>
          <p:cNvSpPr>
            <a:spLocks noGrp="1"/>
          </p:cNvSpPr>
          <p:nvPr>
            <p:ph type="body" sz="quarter" idx="16" hasCustomPrompt="1"/>
          </p:nvPr>
        </p:nvSpPr>
        <p:spPr>
          <a:xfrm>
            <a:off x="1206774" y="4038684"/>
            <a:ext cx="2669558" cy="1524235"/>
          </a:xfrm>
          <a:prstGeom prst="rect">
            <a:avLst/>
          </a:prstGeom>
          <a:solidFill>
            <a:schemeClr val="bg1"/>
          </a:solidFill>
        </p:spPr>
        <p:txBody>
          <a:bodyPr tIns="90000"/>
          <a:lstStyle>
            <a:lvl1pPr marL="0" indent="0" algn="ctr" rtl="0">
              <a:buNone/>
              <a:defRPr sz="2000"/>
            </a:lvl1pPr>
          </a:lstStyle>
          <a:p>
            <a:pPr lvl="0"/>
            <a:r>
              <a:rPr lang="en-GB"/>
              <a:t>Edit Master text styles</a:t>
            </a:r>
            <a:endParaRPr lang="en-GB" dirty="0"/>
          </a:p>
        </p:txBody>
      </p:sp>
      <p:sp>
        <p:nvSpPr>
          <p:cNvPr id="15" name="Text Placeholder 12"/>
          <p:cNvSpPr>
            <a:spLocks noGrp="1"/>
          </p:cNvSpPr>
          <p:nvPr>
            <p:ph type="body" sz="quarter" idx="17" hasCustomPrompt="1"/>
          </p:nvPr>
        </p:nvSpPr>
        <p:spPr>
          <a:xfrm>
            <a:off x="4672139" y="4041944"/>
            <a:ext cx="2669558" cy="1524235"/>
          </a:xfrm>
          <a:prstGeom prst="rect">
            <a:avLst/>
          </a:prstGeom>
          <a:solidFill>
            <a:schemeClr val="bg1"/>
          </a:solidFill>
        </p:spPr>
        <p:txBody>
          <a:bodyPr tIns="90000"/>
          <a:lstStyle>
            <a:lvl1pPr marL="0" indent="0" algn="ctr" rtl="0">
              <a:buNone/>
              <a:defRPr sz="2000"/>
            </a:lvl1pPr>
          </a:lstStyle>
          <a:p>
            <a:pPr lvl="0"/>
            <a:r>
              <a:rPr lang="en-GB"/>
              <a:t>Edit Master text styles</a:t>
            </a:r>
            <a:endParaRPr lang="en-GB" dirty="0"/>
          </a:p>
        </p:txBody>
      </p:sp>
      <p:sp>
        <p:nvSpPr>
          <p:cNvPr id="16" name="Text Placeholder 12"/>
          <p:cNvSpPr>
            <a:spLocks noGrp="1"/>
          </p:cNvSpPr>
          <p:nvPr>
            <p:ph type="body" sz="quarter" idx="18" hasCustomPrompt="1"/>
          </p:nvPr>
        </p:nvSpPr>
        <p:spPr>
          <a:xfrm>
            <a:off x="8137503" y="4037437"/>
            <a:ext cx="2669558" cy="1524235"/>
          </a:xfrm>
          <a:prstGeom prst="rect">
            <a:avLst/>
          </a:prstGeom>
          <a:solidFill>
            <a:schemeClr val="bg1"/>
          </a:solidFill>
        </p:spPr>
        <p:txBody>
          <a:bodyPr tIns="90000"/>
          <a:lstStyle>
            <a:lvl1pPr marL="0" indent="0" algn="ctr" rtl="0">
              <a:buNone/>
              <a:defRPr sz="2000"/>
            </a:lvl1pPr>
          </a:lstStyle>
          <a:p>
            <a:pPr lvl="0"/>
            <a:r>
              <a:rPr lang="en-GB"/>
              <a:t>Edit Master text styles</a:t>
            </a:r>
            <a:endParaRPr lang="en-GB" dirty="0"/>
          </a:p>
        </p:txBody>
      </p:sp>
      <p:sp>
        <p:nvSpPr>
          <p:cNvPr id="18" name="Title Placeholder 1"/>
          <p:cNvSpPr>
            <a:spLocks noGrp="1"/>
          </p:cNvSpPr>
          <p:nvPr>
            <p:ph type="title"/>
          </p:nvPr>
        </p:nvSpPr>
        <p:spPr>
          <a:xfrm>
            <a:off x="970722" y="482860"/>
            <a:ext cx="8664597" cy="782357"/>
          </a:xfrm>
          <a:prstGeom prst="rect">
            <a:avLst/>
          </a:prstGeom>
        </p:spPr>
        <p:txBody>
          <a:bodyPr vert="horz" lIns="91440" tIns="45720" rIns="91440" bIns="0" rtlCol="0" anchor="b" anchorCtr="0">
            <a:noAutofit/>
          </a:bodyPr>
          <a:lstStyle>
            <a:lvl1pPr rtl="0">
              <a:defRPr>
                <a:solidFill>
                  <a:schemeClr val="tx2">
                    <a:lumMod val="50000"/>
                  </a:schemeClr>
                </a:solidFill>
              </a:defRPr>
            </a:lvl1pPr>
          </a:lstStyle>
          <a:p>
            <a:r>
              <a:rPr lang="en-GB"/>
              <a:t>Click to edit Master title style</a:t>
            </a:r>
            <a:endParaRPr lang="en-GB" dirty="0"/>
          </a:p>
        </p:txBody>
      </p:sp>
      <p:cxnSp>
        <p:nvCxnSpPr>
          <p:cNvPr id="19" name="Straight Connector 18">
            <a:extLst>
              <a:ext uri="{FF2B5EF4-FFF2-40B4-BE49-F238E27FC236}">
                <a16:creationId xmlns:a16="http://schemas.microsoft.com/office/drawing/2014/main" id="{ADCCFD64-DD21-4035-B89E-883E74441963}"/>
              </a:ext>
            </a:extLst>
          </p:cNvPr>
          <p:cNvCxnSpPr>
            <a:cxnSpLocks/>
          </p:cNvCxnSpPr>
          <p:nvPr userDrawn="1"/>
        </p:nvCxnSpPr>
        <p:spPr>
          <a:xfrm>
            <a:off x="838200" y="0"/>
            <a:ext cx="0" cy="1265217"/>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213312543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0E0D45-DD73-42A5-98E1-F195CF90B828}"/>
              </a:ext>
            </a:extLst>
          </p:cNvPr>
          <p:cNvGraphicFramePr>
            <a:graphicFrameLocks noChangeAspect="1"/>
          </p:cNvGraphicFramePr>
          <p:nvPr userDrawn="1">
            <p:custDataLst>
              <p:tags r:id="rId1"/>
            </p:custDataLst>
            <p:extLst>
              <p:ext uri="{D42A27DB-BD31-4B8C-83A1-F6EECF244321}">
                <p14:modId xmlns:p14="http://schemas.microsoft.com/office/powerpoint/2010/main" val="1849823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9C0E0D45-DD73-42A5-98E1-F195CF90B8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p:cNvSpPr>
            <a:spLocks noGrp="1"/>
          </p:cNvSpPr>
          <p:nvPr>
            <p:ph type="pic" sz="quarter" idx="13"/>
          </p:nvPr>
        </p:nvSpPr>
        <p:spPr>
          <a:xfrm>
            <a:off x="3713869" y="2159957"/>
            <a:ext cx="2461591" cy="1638158"/>
          </a:xfrm>
          <a:prstGeom prst="rect">
            <a:avLst/>
          </a:prstGeom>
          <a:solidFill>
            <a:schemeClr val="bg2"/>
          </a:solidFill>
        </p:spPr>
        <p:txBody>
          <a:bodyPr/>
          <a:lstStyle>
            <a:lvl1pPr rtl="0">
              <a:defRPr/>
            </a:lvl1pPr>
          </a:lstStyle>
          <a:p>
            <a:r>
              <a:rPr lang="en-GB"/>
              <a:t>Click icon to add picture</a:t>
            </a:r>
            <a:endParaRPr lang="en-GB" dirty="0"/>
          </a:p>
        </p:txBody>
      </p:sp>
      <p:sp>
        <p:nvSpPr>
          <p:cNvPr id="11" name="Picture Placeholder 2"/>
          <p:cNvSpPr>
            <a:spLocks noGrp="1"/>
          </p:cNvSpPr>
          <p:nvPr>
            <p:ph type="pic" sz="quarter" idx="14"/>
          </p:nvPr>
        </p:nvSpPr>
        <p:spPr>
          <a:xfrm>
            <a:off x="3713868" y="3968881"/>
            <a:ext cx="2461591" cy="1638158"/>
          </a:xfrm>
          <a:prstGeom prst="rect">
            <a:avLst/>
          </a:prstGeom>
          <a:solidFill>
            <a:schemeClr val="bg2"/>
          </a:solidFill>
        </p:spPr>
        <p:txBody>
          <a:bodyPr/>
          <a:lstStyle>
            <a:lvl1pPr rtl="0">
              <a:defRPr/>
            </a:lvl1pPr>
          </a:lstStyle>
          <a:p>
            <a:r>
              <a:rPr lang="en-GB"/>
              <a:t>Click icon to add picture</a:t>
            </a:r>
            <a:endParaRPr lang="en-GB" dirty="0"/>
          </a:p>
        </p:txBody>
      </p:sp>
      <p:sp>
        <p:nvSpPr>
          <p:cNvPr id="12" name="Picture Placeholder 2"/>
          <p:cNvSpPr>
            <a:spLocks noGrp="1"/>
          </p:cNvSpPr>
          <p:nvPr>
            <p:ph type="pic" sz="quarter" idx="15"/>
          </p:nvPr>
        </p:nvSpPr>
        <p:spPr>
          <a:xfrm>
            <a:off x="6324547" y="2159956"/>
            <a:ext cx="2461593" cy="1638159"/>
          </a:xfrm>
          <a:prstGeom prst="rect">
            <a:avLst/>
          </a:prstGeom>
          <a:solidFill>
            <a:schemeClr val="bg2"/>
          </a:solidFill>
        </p:spPr>
        <p:txBody>
          <a:bodyPr/>
          <a:lstStyle>
            <a:lvl1pPr rtl="0">
              <a:defRPr/>
            </a:lvl1pPr>
          </a:lstStyle>
          <a:p>
            <a:r>
              <a:rPr lang="en-GB"/>
              <a:t>Click icon to add picture</a:t>
            </a:r>
            <a:endParaRPr lang="en-GB" dirty="0"/>
          </a:p>
        </p:txBody>
      </p:sp>
      <p:sp>
        <p:nvSpPr>
          <p:cNvPr id="13" name="Text Placeholder 12"/>
          <p:cNvSpPr>
            <a:spLocks noGrp="1"/>
          </p:cNvSpPr>
          <p:nvPr>
            <p:ph type="body" sz="quarter" idx="16" hasCustomPrompt="1"/>
          </p:nvPr>
        </p:nvSpPr>
        <p:spPr>
          <a:xfrm>
            <a:off x="8935227" y="3968880"/>
            <a:ext cx="2520000" cy="1638158"/>
          </a:xfrm>
          <a:prstGeom prst="rect">
            <a:avLst/>
          </a:prstGeom>
          <a:noFill/>
        </p:spPr>
        <p:txBody>
          <a:bodyPr tIns="90000"/>
          <a:lstStyle>
            <a:lvl1pPr marL="0" indent="0" algn="l" rtl="0">
              <a:buNone/>
              <a:defRPr sz="2000"/>
            </a:lvl1pPr>
          </a:lstStyle>
          <a:p>
            <a:pPr lvl="0"/>
            <a:r>
              <a:rPr lang="en-GB"/>
              <a:t>Edit Master text styles</a:t>
            </a:r>
            <a:endParaRPr lang="en-GB" dirty="0"/>
          </a:p>
        </p:txBody>
      </p:sp>
      <p:sp>
        <p:nvSpPr>
          <p:cNvPr id="16" name="Text Placeholder 12"/>
          <p:cNvSpPr>
            <a:spLocks noGrp="1"/>
          </p:cNvSpPr>
          <p:nvPr>
            <p:ph type="body" sz="quarter" idx="18" hasCustomPrompt="1"/>
          </p:nvPr>
        </p:nvSpPr>
        <p:spPr>
          <a:xfrm>
            <a:off x="1033617" y="2159957"/>
            <a:ext cx="2520000" cy="1638159"/>
          </a:xfrm>
          <a:prstGeom prst="rect">
            <a:avLst/>
          </a:prstGeom>
          <a:noFill/>
        </p:spPr>
        <p:txBody>
          <a:bodyPr tIns="90000"/>
          <a:lstStyle>
            <a:lvl1pPr marL="0" indent="0" algn="r" rtl="0">
              <a:buNone/>
              <a:defRPr sz="2000"/>
            </a:lvl1pPr>
          </a:lstStyle>
          <a:p>
            <a:pPr lvl="0"/>
            <a:r>
              <a:rPr lang="en-GB"/>
              <a:t>Edit Master text styles</a:t>
            </a:r>
            <a:endParaRPr lang="en-GB" dirty="0"/>
          </a:p>
        </p:txBody>
      </p:sp>
      <p:sp>
        <p:nvSpPr>
          <p:cNvPr id="14" name="Picture Placeholder 2"/>
          <p:cNvSpPr>
            <a:spLocks noGrp="1"/>
          </p:cNvSpPr>
          <p:nvPr>
            <p:ph type="pic" sz="quarter" idx="19"/>
          </p:nvPr>
        </p:nvSpPr>
        <p:spPr>
          <a:xfrm>
            <a:off x="6324549" y="3968880"/>
            <a:ext cx="2461591" cy="1638158"/>
          </a:xfrm>
          <a:prstGeom prst="rect">
            <a:avLst/>
          </a:prstGeom>
          <a:solidFill>
            <a:schemeClr val="bg2"/>
          </a:solidFill>
        </p:spPr>
        <p:txBody>
          <a:bodyPr/>
          <a:lstStyle>
            <a:lvl1pPr rtl="0">
              <a:defRPr/>
            </a:lvl1pPr>
          </a:lstStyle>
          <a:p>
            <a:r>
              <a:rPr lang="en-GB"/>
              <a:t>Click icon to add picture</a:t>
            </a:r>
            <a:endParaRPr lang="en-GB" dirty="0"/>
          </a:p>
        </p:txBody>
      </p:sp>
      <p:sp>
        <p:nvSpPr>
          <p:cNvPr id="17" name="Text Placeholder 12"/>
          <p:cNvSpPr>
            <a:spLocks noGrp="1"/>
          </p:cNvSpPr>
          <p:nvPr>
            <p:ph type="body" sz="quarter" idx="20" hasCustomPrompt="1"/>
          </p:nvPr>
        </p:nvSpPr>
        <p:spPr>
          <a:xfrm>
            <a:off x="1033617" y="3968881"/>
            <a:ext cx="2520000" cy="1638158"/>
          </a:xfrm>
          <a:prstGeom prst="rect">
            <a:avLst/>
          </a:prstGeom>
          <a:noFill/>
        </p:spPr>
        <p:txBody>
          <a:bodyPr tIns="90000"/>
          <a:lstStyle>
            <a:lvl1pPr marL="0" indent="0" algn="r" rtl="0">
              <a:buNone/>
              <a:defRPr sz="2000"/>
            </a:lvl1pPr>
          </a:lstStyle>
          <a:p>
            <a:pPr lvl="0"/>
            <a:r>
              <a:rPr lang="en-GB"/>
              <a:t>Edit Master text styles</a:t>
            </a:r>
            <a:endParaRPr lang="en-GB" dirty="0"/>
          </a:p>
        </p:txBody>
      </p:sp>
      <p:sp>
        <p:nvSpPr>
          <p:cNvPr id="18" name="Text Placeholder 12"/>
          <p:cNvSpPr>
            <a:spLocks noGrp="1"/>
          </p:cNvSpPr>
          <p:nvPr>
            <p:ph type="body" sz="quarter" idx="21" hasCustomPrompt="1"/>
          </p:nvPr>
        </p:nvSpPr>
        <p:spPr>
          <a:xfrm>
            <a:off x="8966322" y="2159956"/>
            <a:ext cx="2520000" cy="1638159"/>
          </a:xfrm>
          <a:prstGeom prst="rect">
            <a:avLst/>
          </a:prstGeom>
          <a:noFill/>
        </p:spPr>
        <p:txBody>
          <a:bodyPr tIns="90000"/>
          <a:lstStyle>
            <a:lvl1pPr marL="0" indent="0" algn="l" rtl="0">
              <a:buNone/>
              <a:defRPr sz="2000"/>
            </a:lvl1pPr>
          </a:lstStyle>
          <a:p>
            <a:pPr lvl="0"/>
            <a:r>
              <a:rPr lang="en-GB"/>
              <a:t>Edit Master text styles</a:t>
            </a:r>
            <a:endParaRPr lang="en-GB" dirty="0"/>
          </a:p>
        </p:txBody>
      </p:sp>
      <p:sp>
        <p:nvSpPr>
          <p:cNvPr id="20" name="Title Placeholder 1"/>
          <p:cNvSpPr>
            <a:spLocks noGrp="1"/>
          </p:cNvSpPr>
          <p:nvPr>
            <p:ph type="title"/>
          </p:nvPr>
        </p:nvSpPr>
        <p:spPr>
          <a:xfrm>
            <a:off x="970722" y="482860"/>
            <a:ext cx="8664597" cy="782357"/>
          </a:xfrm>
          <a:prstGeom prst="rect">
            <a:avLst/>
          </a:prstGeom>
        </p:spPr>
        <p:txBody>
          <a:bodyPr vert="horz" lIns="91440" tIns="45720" rIns="91440" bIns="0" rtlCol="0" anchor="b" anchorCtr="0">
            <a:noAutofit/>
          </a:bodyPr>
          <a:lstStyle>
            <a:lvl1pPr rtl="0">
              <a:defRPr>
                <a:solidFill>
                  <a:schemeClr val="tx2">
                    <a:lumMod val="50000"/>
                  </a:schemeClr>
                </a:solidFill>
              </a:defRPr>
            </a:lvl1pPr>
          </a:lstStyle>
          <a:p>
            <a:r>
              <a:rPr lang="en-GB"/>
              <a:t>Click to edit Master title style</a:t>
            </a:r>
            <a:endParaRPr lang="en-GB" dirty="0"/>
          </a:p>
        </p:txBody>
      </p:sp>
      <p:cxnSp>
        <p:nvCxnSpPr>
          <p:cNvPr id="21" name="Straight Connector 20">
            <a:extLst>
              <a:ext uri="{FF2B5EF4-FFF2-40B4-BE49-F238E27FC236}">
                <a16:creationId xmlns:a16="http://schemas.microsoft.com/office/drawing/2014/main" id="{912B5CA3-2B79-406C-A9E1-C89C5A88AA7B}"/>
              </a:ext>
            </a:extLst>
          </p:cNvPr>
          <p:cNvCxnSpPr>
            <a:cxnSpLocks/>
          </p:cNvCxnSpPr>
          <p:nvPr userDrawn="1"/>
        </p:nvCxnSpPr>
        <p:spPr>
          <a:xfrm>
            <a:off x="838200" y="0"/>
            <a:ext cx="0" cy="1265217"/>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11013180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9AB18C4-9E81-4C95-B1E3-67F34CDACD8E}"/>
              </a:ext>
            </a:extLst>
          </p:cNvPr>
          <p:cNvGraphicFramePr>
            <a:graphicFrameLocks noChangeAspect="1"/>
          </p:cNvGraphicFramePr>
          <p:nvPr userDrawn="1">
            <p:custDataLst>
              <p:tags r:id="rId1"/>
            </p:custDataLst>
            <p:extLst>
              <p:ext uri="{D42A27DB-BD31-4B8C-83A1-F6EECF244321}">
                <p14:modId xmlns:p14="http://schemas.microsoft.com/office/powerpoint/2010/main" val="112622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89AB18C4-9E81-4C95-B1E3-67F34CDACD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2"/>
          <p:cNvSpPr>
            <a:spLocks noGrp="1"/>
          </p:cNvSpPr>
          <p:nvPr>
            <p:ph type="pic" sz="quarter" idx="13"/>
          </p:nvPr>
        </p:nvSpPr>
        <p:spPr>
          <a:xfrm>
            <a:off x="0" y="0"/>
            <a:ext cx="12192000" cy="3429000"/>
          </a:xfrm>
          <a:prstGeom prst="rect">
            <a:avLst/>
          </a:prstGeom>
          <a:solidFill>
            <a:schemeClr val="bg2"/>
          </a:solidFill>
        </p:spPr>
        <p:txBody>
          <a:bodyPr/>
          <a:lstStyle>
            <a:lvl1pPr rtl="0">
              <a:defRPr/>
            </a:lvl1pPr>
          </a:lstStyle>
          <a:p>
            <a:r>
              <a:rPr lang="en-GB"/>
              <a:t>Click icon to add picture</a:t>
            </a:r>
            <a:endParaRPr lang="en-GB" dirty="0"/>
          </a:p>
        </p:txBody>
      </p:sp>
      <p:sp>
        <p:nvSpPr>
          <p:cNvPr id="2" name="Title 1"/>
          <p:cNvSpPr>
            <a:spLocks noGrp="1"/>
          </p:cNvSpPr>
          <p:nvPr>
            <p:ph type="title"/>
          </p:nvPr>
        </p:nvSpPr>
        <p:spPr>
          <a:xfrm>
            <a:off x="838200" y="2646643"/>
            <a:ext cx="10515600" cy="782357"/>
          </a:xfrm>
          <a:solidFill>
            <a:schemeClr val="bg1"/>
          </a:solidFill>
        </p:spPr>
        <p:txBody>
          <a:bodyPr vert="horz"/>
          <a:lstStyle>
            <a:lvl1pPr rtl="0">
              <a:defRPr/>
            </a:lvl1pPr>
          </a:lstStyle>
          <a:p>
            <a:r>
              <a:rPr lang="en-GB"/>
              <a:t>Click to edit Master title style</a:t>
            </a:r>
            <a:endParaRPr lang="en-GB" dirty="0"/>
          </a:p>
        </p:txBody>
      </p:sp>
      <p:sp>
        <p:nvSpPr>
          <p:cNvPr id="6" name="Text Placeholder 5"/>
          <p:cNvSpPr>
            <a:spLocks noGrp="1"/>
          </p:cNvSpPr>
          <p:nvPr>
            <p:ph type="body" sz="quarter" idx="14" hasCustomPrompt="1"/>
          </p:nvPr>
        </p:nvSpPr>
        <p:spPr>
          <a:xfrm>
            <a:off x="838200" y="3630613"/>
            <a:ext cx="10515600" cy="2035175"/>
          </a:xfrm>
          <a:prstGeom prst="rect">
            <a:avLst/>
          </a:prstGeom>
        </p:spPr>
        <p:txBody>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108252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4FF1B89-1362-4F3A-BB5F-3BAC6F1A1464}"/>
              </a:ext>
            </a:extLst>
          </p:cNvPr>
          <p:cNvGraphicFramePr>
            <a:graphicFrameLocks noChangeAspect="1"/>
          </p:cNvGraphicFramePr>
          <p:nvPr userDrawn="1">
            <p:custDataLst>
              <p:tags r:id="rId1"/>
            </p:custDataLst>
            <p:extLst>
              <p:ext uri="{D42A27DB-BD31-4B8C-83A1-F6EECF244321}">
                <p14:modId xmlns:p14="http://schemas.microsoft.com/office/powerpoint/2010/main" val="3683533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7" name="Object 6" hidden="1">
                        <a:extLst>
                          <a:ext uri="{FF2B5EF4-FFF2-40B4-BE49-F238E27FC236}">
                            <a16:creationId xmlns:a16="http://schemas.microsoft.com/office/drawing/2014/main" id="{04FF1B89-1362-4F3A-BB5F-3BAC6F1A1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Placeholder 2">
            <a:extLst>
              <a:ext uri="{FF2B5EF4-FFF2-40B4-BE49-F238E27FC236}">
                <a16:creationId xmlns:a16="http://schemas.microsoft.com/office/drawing/2014/main" id="{A4DA7CB9-79EB-465C-89AE-B8CCA5434851}"/>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20332" b="20332"/>
          <a:stretch>
            <a:fillRect/>
          </a:stretch>
        </p:blipFill>
        <p:spPr>
          <a:xfrm>
            <a:off x="0" y="1077913"/>
            <a:ext cx="12192000" cy="5780087"/>
          </a:xfrm>
          <a:prstGeom prst="rect">
            <a:avLst/>
          </a:prstGeom>
        </p:spPr>
      </p:pic>
      <p:pic>
        <p:nvPicPr>
          <p:cNvPr id="4" name="Picture 3">
            <a:extLst>
              <a:ext uri="{FF2B5EF4-FFF2-40B4-BE49-F238E27FC236}">
                <a16:creationId xmlns:a16="http://schemas.microsoft.com/office/drawing/2014/main" id="{8E14BC13-856B-4E63-9546-A30BDF87313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1355" y="258042"/>
            <a:ext cx="1659793" cy="1152460"/>
          </a:xfrm>
          <a:prstGeom prst="rect">
            <a:avLst/>
          </a:prstGeom>
        </p:spPr>
      </p:pic>
      <p:sp>
        <p:nvSpPr>
          <p:cNvPr id="5" name="Rectangle 4">
            <a:extLst>
              <a:ext uri="{FF2B5EF4-FFF2-40B4-BE49-F238E27FC236}">
                <a16:creationId xmlns:a16="http://schemas.microsoft.com/office/drawing/2014/main" id="{1051B918-191F-4114-A4BC-DA6D42783256}"/>
              </a:ext>
            </a:extLst>
          </p:cNvPr>
          <p:cNvSpPr/>
          <p:nvPr userDrawn="1"/>
        </p:nvSpPr>
        <p:spPr>
          <a:xfrm>
            <a:off x="5703580"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GB" dirty="0"/>
          </a:p>
        </p:txBody>
      </p:sp>
      <p:sp>
        <p:nvSpPr>
          <p:cNvPr id="6" name="Flowchart: Process 5">
            <a:extLst>
              <a:ext uri="{FF2B5EF4-FFF2-40B4-BE49-F238E27FC236}">
                <a16:creationId xmlns:a16="http://schemas.microsoft.com/office/drawing/2014/main" id="{EBE43C18-93CA-43A0-B3A8-B66F91807957}"/>
              </a:ext>
            </a:extLst>
          </p:cNvPr>
          <p:cNvSpPr/>
          <p:nvPr userDrawn="1"/>
        </p:nvSpPr>
        <p:spPr>
          <a:xfrm>
            <a:off x="0" y="1077913"/>
            <a:ext cx="12192000" cy="5781845"/>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pic>
        <p:nvPicPr>
          <p:cNvPr id="8" name="Picture 7">
            <a:extLst>
              <a:ext uri="{FF2B5EF4-FFF2-40B4-BE49-F238E27FC236}">
                <a16:creationId xmlns:a16="http://schemas.microsoft.com/office/drawing/2014/main" id="{6486C0ED-89FF-4040-8CF9-7338720A2DA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1355" y="254072"/>
            <a:ext cx="1659793" cy="1152460"/>
          </a:xfrm>
          <a:prstGeom prst="rect">
            <a:avLst/>
          </a:prstGeom>
        </p:spPr>
      </p:pic>
      <p:sp>
        <p:nvSpPr>
          <p:cNvPr id="9" name="Rectangle 8">
            <a:extLst>
              <a:ext uri="{FF2B5EF4-FFF2-40B4-BE49-F238E27FC236}">
                <a16:creationId xmlns:a16="http://schemas.microsoft.com/office/drawing/2014/main" id="{7B9E80DE-28B9-4789-B798-A4136F08EFEA}"/>
              </a:ext>
            </a:extLst>
          </p:cNvPr>
          <p:cNvSpPr/>
          <p:nvPr userDrawn="1"/>
        </p:nvSpPr>
        <p:spPr>
          <a:xfrm>
            <a:off x="5703580" y="661519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GB" dirty="0"/>
          </a:p>
        </p:txBody>
      </p:sp>
      <p:sp>
        <p:nvSpPr>
          <p:cNvPr id="30" name="TextBox 29">
            <a:extLst>
              <a:ext uri="{FF2B5EF4-FFF2-40B4-BE49-F238E27FC236}">
                <a16:creationId xmlns:a16="http://schemas.microsoft.com/office/drawing/2014/main" id="{41A88E33-CF59-41E6-AAAC-F66EEADFE448}"/>
              </a:ext>
            </a:extLst>
          </p:cNvPr>
          <p:cNvSpPr txBox="1"/>
          <p:nvPr userDrawn="1"/>
        </p:nvSpPr>
        <p:spPr>
          <a:xfrm>
            <a:off x="4217114" y="4698903"/>
            <a:ext cx="3302850" cy="1224566"/>
          </a:xfrm>
          <a:prstGeom prst="rect">
            <a:avLst/>
          </a:prstGeom>
          <a:noFill/>
        </p:spPr>
        <p:txBody>
          <a:bodyPr wrap="square" lIns="0" tIns="0" rIns="91440" bIns="0" rtlCol="0">
            <a:spAutoFit/>
          </a:bodyPr>
          <a:lstStyle/>
          <a:p>
            <a:pPr rtl="0"/>
            <a:r>
              <a:rPr lang="en-GB" sz="1400" b="1" kern="0" dirty="0">
                <a:solidFill>
                  <a:schemeClr val="bg1"/>
                </a:solidFill>
                <a:latin typeface="Verdana" charset="0"/>
                <a:cs typeface="Verdana" charset="0"/>
              </a:rPr>
              <a:t>Digital Europe Programme</a:t>
            </a:r>
            <a:endParaRPr lang="en-GB" sz="200" b="1" kern="0" dirty="0">
              <a:solidFill>
                <a:schemeClr val="bg1"/>
              </a:solidFill>
              <a:latin typeface="Verdana" charset="0"/>
              <a:cs typeface="Verdana" charset="0"/>
            </a:endParaRPr>
          </a:p>
          <a:p>
            <a:pPr rtl="0"/>
            <a:endParaRPr lang="en-GB" sz="200" b="1" kern="0" dirty="0">
              <a:solidFill>
                <a:schemeClr val="bg1"/>
              </a:solidFill>
              <a:latin typeface="Verdana" charset="0"/>
              <a:cs typeface="Verdana" charset="0"/>
            </a:endParaRPr>
          </a:p>
          <a:p>
            <a:pPr rtl="0"/>
            <a:r>
              <a:rPr lang="en-GB" sz="1200" b="1" kern="0" dirty="0">
                <a:solidFill>
                  <a:schemeClr val="bg1"/>
                </a:solidFill>
                <a:latin typeface="Verdana" charset="0"/>
                <a:cs typeface="Verdana" charset="0"/>
              </a:rPr>
              <a:t>Project Officers:</a:t>
            </a:r>
          </a:p>
          <a:p>
            <a:pPr rtl="0"/>
            <a:r>
              <a:rPr lang="en-GB" sz="1200" kern="0" dirty="0">
                <a:solidFill>
                  <a:schemeClr val="bg1"/>
                </a:solidFill>
              </a:rPr>
              <a:t>Bernard CLAES</a:t>
            </a:r>
          </a:p>
          <a:p>
            <a:pPr rtl="0"/>
            <a:r>
              <a:rPr lang="en-GB" sz="1200" kern="0" dirty="0">
                <a:solidFill>
                  <a:schemeClr val="bg1"/>
                </a:solidFill>
              </a:rPr>
              <a:t>Victoria KALOGIROU</a:t>
            </a:r>
          </a:p>
          <a:p>
            <a:pPr rtl="0"/>
            <a:r>
              <a:rPr lang="en-GB" sz="1200" kern="0" dirty="0">
                <a:solidFill>
                  <a:schemeClr val="bg1"/>
                </a:solidFill>
              </a:rPr>
              <a:t>Miguel ALVAREZ RODRIGUEZ</a:t>
            </a:r>
          </a:p>
          <a:p>
            <a:pPr rtl="0">
              <a:lnSpc>
                <a:spcPct val="150000"/>
              </a:lnSpc>
            </a:pPr>
            <a:endParaRPr lang="en-GB" sz="1200" kern="0" dirty="0">
              <a:solidFill>
                <a:schemeClr val="bg1"/>
              </a:solidFill>
              <a:latin typeface="Verdana" charset="0"/>
              <a:cs typeface="Verdana" charset="0"/>
            </a:endParaRPr>
          </a:p>
        </p:txBody>
      </p:sp>
      <p:cxnSp>
        <p:nvCxnSpPr>
          <p:cNvPr id="31" name="Straight Connector 30">
            <a:extLst>
              <a:ext uri="{FF2B5EF4-FFF2-40B4-BE49-F238E27FC236}">
                <a16:creationId xmlns:a16="http://schemas.microsoft.com/office/drawing/2014/main" id="{F6804A67-74E6-41E7-8F83-552527C137E5}"/>
              </a:ext>
            </a:extLst>
          </p:cNvPr>
          <p:cNvCxnSpPr>
            <a:cxnSpLocks/>
          </p:cNvCxnSpPr>
          <p:nvPr userDrawn="1"/>
        </p:nvCxnSpPr>
        <p:spPr>
          <a:xfrm>
            <a:off x="1875951" y="4549821"/>
            <a:ext cx="8525349"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pic>
        <p:nvPicPr>
          <p:cNvPr id="34" name="Picture 33">
            <a:extLst>
              <a:ext uri="{FF2B5EF4-FFF2-40B4-BE49-F238E27FC236}">
                <a16:creationId xmlns:a16="http://schemas.microsoft.com/office/drawing/2014/main" id="{F3AD4ACB-4999-48E5-9654-332CD6651D1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385146" y="4289313"/>
            <a:ext cx="3290247" cy="1409727"/>
          </a:xfrm>
          <a:prstGeom prst="rect">
            <a:avLst/>
          </a:prstGeom>
        </p:spPr>
      </p:pic>
      <p:pic>
        <p:nvPicPr>
          <p:cNvPr id="35" name="Picture 34">
            <a:extLst>
              <a:ext uri="{FF2B5EF4-FFF2-40B4-BE49-F238E27FC236}">
                <a16:creationId xmlns:a16="http://schemas.microsoft.com/office/drawing/2014/main" id="{AF3F4616-DD03-4BFA-81D2-478964F392BC}"/>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910676" y="4650619"/>
            <a:ext cx="1980241" cy="769026"/>
          </a:xfrm>
          <a:prstGeom prst="rect">
            <a:avLst/>
          </a:prstGeom>
        </p:spPr>
      </p:pic>
      <p:sp>
        <p:nvSpPr>
          <p:cNvPr id="15" name="Title 1">
            <a:extLst>
              <a:ext uri="{FF2B5EF4-FFF2-40B4-BE49-F238E27FC236}">
                <a16:creationId xmlns:a16="http://schemas.microsoft.com/office/drawing/2014/main" id="{3E1A57A9-7734-47A2-9A0D-D937C8E0D8F6}"/>
              </a:ext>
            </a:extLst>
          </p:cNvPr>
          <p:cNvSpPr>
            <a:spLocks noGrp="1"/>
          </p:cNvSpPr>
          <p:nvPr>
            <p:ph type="ctrTitle"/>
          </p:nvPr>
        </p:nvSpPr>
        <p:spPr>
          <a:xfrm>
            <a:off x="1875951" y="2939443"/>
            <a:ext cx="8525349" cy="1240348"/>
          </a:xfrm>
        </p:spPr>
        <p:txBody>
          <a:bodyPr vert="horz" anchor="b">
            <a:noAutofit/>
          </a:bodyPr>
          <a:lstStyle>
            <a:lvl1pPr algn="l" rtl="0">
              <a:defRPr sz="3200">
                <a:solidFill>
                  <a:schemeClr val="bg1"/>
                </a:solidFill>
              </a:defRPr>
            </a:lvl1pPr>
          </a:lstStyle>
          <a:p>
            <a:r>
              <a:rPr lang="en-GB"/>
              <a:t>Click to edit Master title style</a:t>
            </a:r>
            <a:endParaRPr lang="en-GB" dirty="0"/>
          </a:p>
        </p:txBody>
      </p:sp>
      <p:sp>
        <p:nvSpPr>
          <p:cNvPr id="16" name="Subtitle 2">
            <a:extLst>
              <a:ext uri="{FF2B5EF4-FFF2-40B4-BE49-F238E27FC236}">
                <a16:creationId xmlns:a16="http://schemas.microsoft.com/office/drawing/2014/main" id="{BB679294-2DB3-41B5-BBEA-999B8BD1D045}"/>
              </a:ext>
            </a:extLst>
          </p:cNvPr>
          <p:cNvSpPr>
            <a:spLocks noGrp="1"/>
          </p:cNvSpPr>
          <p:nvPr>
            <p:ph type="subTitle" idx="1" hasCustomPrompt="1"/>
          </p:nvPr>
        </p:nvSpPr>
        <p:spPr>
          <a:xfrm>
            <a:off x="11056216" y="1675023"/>
            <a:ext cx="1103074" cy="659777"/>
          </a:xfrm>
          <a:prstGeom prst="rect">
            <a:avLst/>
          </a:prstGeom>
        </p:spPr>
        <p:txBody>
          <a:bodyPr>
            <a:noAutofit/>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March</a:t>
            </a:r>
          </a:p>
          <a:p>
            <a:r>
              <a:rPr lang="en-GB"/>
              <a:t>2022</a:t>
            </a:r>
            <a:endParaRPr lang="en-GB" dirty="0"/>
          </a:p>
        </p:txBody>
      </p:sp>
      <p:sp>
        <p:nvSpPr>
          <p:cNvPr id="17" name="Text Placeholder 2">
            <a:extLst>
              <a:ext uri="{FF2B5EF4-FFF2-40B4-BE49-F238E27FC236}">
                <a16:creationId xmlns:a16="http://schemas.microsoft.com/office/drawing/2014/main" id="{5345CF47-11DB-473C-BB43-E28585FFA026}"/>
              </a:ext>
            </a:extLst>
          </p:cNvPr>
          <p:cNvSpPr>
            <a:spLocks noGrp="1"/>
          </p:cNvSpPr>
          <p:nvPr>
            <p:ph idx="10" hasCustomPrompt="1"/>
          </p:nvPr>
        </p:nvSpPr>
        <p:spPr>
          <a:xfrm>
            <a:off x="9519516" y="1287177"/>
            <a:ext cx="1503990" cy="1240345"/>
          </a:xfrm>
          <a:prstGeom prst="rect">
            <a:avLst/>
          </a:prstGeom>
        </p:spPr>
        <p:txBody>
          <a:bodyPr vert="horz" lIns="91440" tIns="45720" rIns="91440" bIns="45720" rtlCol="0">
            <a:normAutofit/>
          </a:bodyPr>
          <a:lstStyle>
            <a:lvl1pPr marL="0" indent="0" rtl="0">
              <a:buNone/>
              <a:defRPr sz="9600">
                <a:solidFill>
                  <a:schemeClr val="bg1"/>
                </a:solidFill>
              </a:defRPr>
            </a:lvl1pPr>
          </a:lstStyle>
          <a:p>
            <a:pPr lvl="0"/>
            <a:r>
              <a:rPr lang="en-GB"/>
              <a:t>00</a:t>
            </a:r>
            <a:endParaRPr lang="en-GB" dirty="0"/>
          </a:p>
        </p:txBody>
      </p:sp>
    </p:spTree>
    <p:extLst>
      <p:ext uri="{BB962C8B-B14F-4D97-AF65-F5344CB8AC3E}">
        <p14:creationId xmlns:p14="http://schemas.microsoft.com/office/powerpoint/2010/main" val="25165249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4CEF8B-154C-4670-8BE8-E08039EEA3A3}"/>
              </a:ext>
            </a:extLst>
          </p:cNvPr>
          <p:cNvGraphicFramePr>
            <a:graphicFrameLocks noChangeAspect="1"/>
          </p:cNvGraphicFramePr>
          <p:nvPr userDrawn="1">
            <p:custDataLst>
              <p:tags r:id="rId1"/>
            </p:custDataLst>
            <p:extLst>
              <p:ext uri="{D42A27DB-BD31-4B8C-83A1-F6EECF244321}">
                <p14:modId xmlns:p14="http://schemas.microsoft.com/office/powerpoint/2010/main" val="409513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A84CEF8B-154C-4670-8BE8-E08039EEA3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p:nvPr>
        </p:nvSpPr>
        <p:spPr>
          <a:xfrm>
            <a:off x="1524000" y="1122363"/>
            <a:ext cx="9144000" cy="2387600"/>
          </a:xfrm>
        </p:spPr>
        <p:txBody>
          <a:bodyPr vert="horz" anchor="b"/>
          <a:lstStyle>
            <a:lvl1pPr algn="ctr" rtl="0">
              <a:defRPr sz="6000"/>
            </a:lvl1pPr>
          </a:lstStyle>
          <a:p>
            <a:r>
              <a:rPr lang="en-GB"/>
              <a:t>Click to edit Master title style</a:t>
            </a:r>
            <a:endParaRPr lang="en-GB" dirty="0"/>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Tree>
    <p:extLst>
      <p:ext uri="{BB962C8B-B14F-4D97-AF65-F5344CB8AC3E}">
        <p14:creationId xmlns:p14="http://schemas.microsoft.com/office/powerpoint/2010/main" val="3427645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69DBEC9-5CBD-4842-9B16-F9ED30FEDC8F}"/>
              </a:ext>
            </a:extLst>
          </p:cNvPr>
          <p:cNvGraphicFramePr>
            <a:graphicFrameLocks noChangeAspect="1"/>
          </p:cNvGraphicFramePr>
          <p:nvPr userDrawn="1">
            <p:custDataLst>
              <p:tags r:id="rId1"/>
            </p:custDataLst>
            <p:extLst>
              <p:ext uri="{D42A27DB-BD31-4B8C-83A1-F6EECF244321}">
                <p14:modId xmlns:p14="http://schemas.microsoft.com/office/powerpoint/2010/main" val="166219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A69DBEC9-5CBD-4842-9B16-F9ED30FEDC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GB"/>
              <a:t>Click to edit Master title style</a:t>
            </a:r>
            <a:endParaRPr lang="en-GB" dirty="0"/>
          </a:p>
        </p:txBody>
      </p:sp>
      <p:sp>
        <p:nvSpPr>
          <p:cNvPr id="3" name="Content Placeholder 2"/>
          <p:cNvSpPr>
            <a:spLocks noGrp="1"/>
          </p:cNvSpPr>
          <p:nvPr>
            <p:ph idx="1" hasCustomPrompt="1"/>
          </p:nvPr>
        </p:nvSpPr>
        <p:spPr>
          <a:xfrm>
            <a:off x="838200" y="1825625"/>
            <a:ext cx="10515600" cy="4351338"/>
          </a:xfrm>
          <a:prstGeom prst="rect">
            <a:avLst/>
          </a:prstGeom>
        </p:spPr>
        <p:txBody>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28513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08FB00-238E-4D2F-896D-A03CFAFDFF75}"/>
              </a:ext>
            </a:extLst>
          </p:cNvPr>
          <p:cNvGraphicFramePr>
            <a:graphicFrameLocks noChangeAspect="1"/>
          </p:cNvGraphicFramePr>
          <p:nvPr userDrawn="1">
            <p:custDataLst>
              <p:tags r:id="rId1"/>
            </p:custDataLst>
            <p:extLst>
              <p:ext uri="{D42A27DB-BD31-4B8C-83A1-F6EECF244321}">
                <p14:modId xmlns:p14="http://schemas.microsoft.com/office/powerpoint/2010/main" val="1141520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Object 4" hidden="1">
                        <a:extLst>
                          <a:ext uri="{FF2B5EF4-FFF2-40B4-BE49-F238E27FC236}">
                            <a16:creationId xmlns:a16="http://schemas.microsoft.com/office/drawing/2014/main" id="{5108FB00-238E-4D2F-896D-A03CFAFDFF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1850" y="1709738"/>
            <a:ext cx="10515600" cy="2852737"/>
          </a:xfrm>
        </p:spPr>
        <p:txBody>
          <a:bodyPr vert="horz" anchor="b"/>
          <a:lstStyle>
            <a:lvl1pPr rtl="0">
              <a:defRPr sz="6000"/>
            </a:lvl1pPr>
          </a:lstStyle>
          <a:p>
            <a:r>
              <a:rPr lang="en-GB"/>
              <a:t>Click to edit Master title style</a:t>
            </a:r>
            <a:endParaRPr lang="en-GB" dirty="0"/>
          </a:p>
        </p:txBody>
      </p:sp>
      <p:sp>
        <p:nvSpPr>
          <p:cNvPr id="3" name="Text Placeholder 2"/>
          <p:cNvSpPr>
            <a:spLocks noGrp="1"/>
          </p:cNvSpPr>
          <p:nvPr>
            <p:ph type="body" idx="1" hasCustomPrompt="1"/>
          </p:nvPr>
        </p:nvSpPr>
        <p:spPr>
          <a:xfrm>
            <a:off x="831850" y="4589463"/>
            <a:ext cx="10515600" cy="1500187"/>
          </a:xfrm>
          <a:prstGeom prst="rect">
            <a:avLst/>
          </a:prstGeo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Edit Master text styles</a:t>
            </a:r>
            <a:endParaRPr lang="en-GB" dirty="0"/>
          </a:p>
        </p:txBody>
      </p:sp>
    </p:spTree>
    <p:extLst>
      <p:ext uri="{BB962C8B-B14F-4D97-AF65-F5344CB8AC3E}">
        <p14:creationId xmlns:p14="http://schemas.microsoft.com/office/powerpoint/2010/main" val="28735845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E7D8DD4-7133-486C-81F7-FBE751CE84C3}"/>
              </a:ext>
            </a:extLst>
          </p:cNvPr>
          <p:cNvGraphicFramePr>
            <a:graphicFrameLocks noChangeAspect="1"/>
          </p:cNvGraphicFramePr>
          <p:nvPr userDrawn="1">
            <p:custDataLst>
              <p:tags r:id="rId1"/>
            </p:custDataLst>
            <p:extLst>
              <p:ext uri="{D42A27DB-BD31-4B8C-83A1-F6EECF244321}">
                <p14:modId xmlns:p14="http://schemas.microsoft.com/office/powerpoint/2010/main" val="3877350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8E7D8DD4-7133-486C-81F7-FBE751CE84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GB"/>
              <a:t>Click to edit Master title style</a:t>
            </a:r>
            <a:endParaRPr lang="en-GB" dirty="0"/>
          </a:p>
        </p:txBody>
      </p:sp>
      <p:sp>
        <p:nvSpPr>
          <p:cNvPr id="3" name="Content Placeholder 2"/>
          <p:cNvSpPr>
            <a:spLocks noGrp="1"/>
          </p:cNvSpPr>
          <p:nvPr>
            <p:ph sz="half" idx="1" hasCustomPrompt="1"/>
          </p:nvPr>
        </p:nvSpPr>
        <p:spPr>
          <a:xfrm>
            <a:off x="838200" y="1825625"/>
            <a:ext cx="5181600" cy="4351338"/>
          </a:xfrm>
          <a:prstGeom prst="rect">
            <a:avLst/>
          </a:prstGeom>
        </p:spPr>
        <p:txBody>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hasCustomPrompt="1"/>
          </p:nvPr>
        </p:nvSpPr>
        <p:spPr>
          <a:xfrm>
            <a:off x="6172200" y="1825625"/>
            <a:ext cx="5181600" cy="4351338"/>
          </a:xfrm>
          <a:prstGeom prst="rect">
            <a:avLst/>
          </a:prstGeom>
        </p:spPr>
        <p:txBody>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1596726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78C2068-E9EF-46AB-96C5-A398D384240C}"/>
              </a:ext>
            </a:extLst>
          </p:cNvPr>
          <p:cNvGraphicFramePr>
            <a:graphicFrameLocks noChangeAspect="1"/>
          </p:cNvGraphicFramePr>
          <p:nvPr userDrawn="1">
            <p:custDataLst>
              <p:tags r:id="rId1"/>
            </p:custDataLst>
            <p:extLst>
              <p:ext uri="{D42A27DB-BD31-4B8C-83A1-F6EECF244321}">
                <p14:modId xmlns:p14="http://schemas.microsoft.com/office/powerpoint/2010/main" val="673589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8" name="Object 7" hidden="1">
                        <a:extLst>
                          <a:ext uri="{FF2B5EF4-FFF2-40B4-BE49-F238E27FC236}">
                            <a16:creationId xmlns:a16="http://schemas.microsoft.com/office/drawing/2014/main" id="{578C2068-E9EF-46AB-96C5-A398D38424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839788" y="365125"/>
            <a:ext cx="10515600" cy="1325563"/>
          </a:xfrm>
        </p:spPr>
        <p:txBody>
          <a:bodyPr vert="horz"/>
          <a:lstStyle>
            <a:lvl1pPr rtl="0">
              <a:defRPr/>
            </a:lvl1pPr>
          </a:lstStyle>
          <a:p>
            <a:r>
              <a:rPr lang="en-GB"/>
              <a:t>Click to edit Master title style</a:t>
            </a:r>
            <a:endParaRPr lang="en-GB" dirty="0"/>
          </a:p>
        </p:txBody>
      </p:sp>
      <p:sp>
        <p:nvSpPr>
          <p:cNvPr id="3" name="Text Placeholder 2"/>
          <p:cNvSpPr>
            <a:spLocks noGrp="1"/>
          </p:cNvSpPr>
          <p:nvPr>
            <p:ph type="body" idx="1" hasCustomPrompt="1"/>
          </p:nvPr>
        </p:nvSpPr>
        <p:spPr>
          <a:xfrm>
            <a:off x="839788" y="1681163"/>
            <a:ext cx="5157787" cy="823912"/>
          </a:xfrm>
          <a:prstGeom prst="rect">
            <a:avLst/>
          </a:prstGeo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Edit Master text styles</a:t>
            </a:r>
            <a:endParaRPr lang="en-GB" dirty="0"/>
          </a:p>
        </p:txBody>
      </p:sp>
      <p:sp>
        <p:nvSpPr>
          <p:cNvPr id="4" name="Content Placeholder 3"/>
          <p:cNvSpPr>
            <a:spLocks noGrp="1"/>
          </p:cNvSpPr>
          <p:nvPr>
            <p:ph sz="half" idx="2" hasCustomPrompt="1"/>
          </p:nvPr>
        </p:nvSpPr>
        <p:spPr>
          <a:xfrm>
            <a:off x="839788" y="2505075"/>
            <a:ext cx="5157787" cy="3684588"/>
          </a:xfrm>
          <a:prstGeom prst="rect">
            <a:avLst/>
          </a:prstGeom>
        </p:spPr>
        <p:txBody>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 Placeholder 4"/>
          <p:cNvSpPr>
            <a:spLocks noGrp="1"/>
          </p:cNvSpPr>
          <p:nvPr>
            <p:ph type="body" sz="quarter" idx="3" hasCustomPrompt="1"/>
          </p:nvPr>
        </p:nvSpPr>
        <p:spPr>
          <a:xfrm>
            <a:off x="6172200" y="1681163"/>
            <a:ext cx="5183188" cy="823912"/>
          </a:xfrm>
          <a:prstGeom prst="rect">
            <a:avLst/>
          </a:prstGeo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Edit Master text styles</a:t>
            </a:r>
            <a:endParaRPr lang="en-GB" dirty="0"/>
          </a:p>
        </p:txBody>
      </p:sp>
      <p:sp>
        <p:nvSpPr>
          <p:cNvPr id="6" name="Content Placeholder 5"/>
          <p:cNvSpPr>
            <a:spLocks noGrp="1"/>
          </p:cNvSpPr>
          <p:nvPr>
            <p:ph sz="quarter" idx="4" hasCustomPrompt="1"/>
          </p:nvPr>
        </p:nvSpPr>
        <p:spPr>
          <a:xfrm>
            <a:off x="6172200" y="2505075"/>
            <a:ext cx="5183188" cy="3684588"/>
          </a:xfrm>
          <a:prstGeom prst="rect">
            <a:avLst/>
          </a:prstGeom>
        </p:spPr>
        <p:txBody>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584209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230AA3F-E182-4B27-91ED-2D3F6AA3E9C5}"/>
              </a:ext>
            </a:extLst>
          </p:cNvPr>
          <p:cNvGraphicFramePr>
            <a:graphicFrameLocks noChangeAspect="1"/>
          </p:cNvGraphicFramePr>
          <p:nvPr userDrawn="1">
            <p:custDataLst>
              <p:tags r:id="rId1"/>
            </p:custDataLst>
            <p:extLst>
              <p:ext uri="{D42A27DB-BD31-4B8C-83A1-F6EECF244321}">
                <p14:modId xmlns:p14="http://schemas.microsoft.com/office/powerpoint/2010/main" val="565869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8230AA3F-E182-4B27-91ED-2D3F6AA3E9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Placeholder 2">
            <a:extLst>
              <a:ext uri="{FF2B5EF4-FFF2-40B4-BE49-F238E27FC236}">
                <a16:creationId xmlns:a16="http://schemas.microsoft.com/office/drawing/2014/main" id="{6A37EE26-BD1B-4458-934B-1A5D4E07996A}"/>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14844" b="14844"/>
          <a:stretch>
            <a:fillRect/>
          </a:stretch>
        </p:blipFill>
        <p:spPr>
          <a:xfrm>
            <a:off x="0" y="0"/>
            <a:ext cx="12192000" cy="6858000"/>
          </a:xfrm>
          <a:prstGeom prst="rect">
            <a:avLst/>
          </a:prstGeom>
        </p:spPr>
      </p:pic>
      <p:sp>
        <p:nvSpPr>
          <p:cNvPr id="12" name="Flowchart: Process 11">
            <a:extLst>
              <a:ext uri="{FF2B5EF4-FFF2-40B4-BE49-F238E27FC236}">
                <a16:creationId xmlns:a16="http://schemas.microsoft.com/office/drawing/2014/main" id="{945113C6-DD4F-4B8D-9159-C4DC8E12ABBC}"/>
              </a:ext>
            </a:extLst>
          </p:cNvPr>
          <p:cNvSpPr/>
          <p:nvPr userDrawn="1"/>
        </p:nvSpPr>
        <p:spPr>
          <a:xfrm>
            <a:off x="0" y="-2017"/>
            <a:ext cx="12191999" cy="6860017"/>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sp>
        <p:nvSpPr>
          <p:cNvPr id="14" name="Flowchart: Document 18">
            <a:extLst>
              <a:ext uri="{FF2B5EF4-FFF2-40B4-BE49-F238E27FC236}">
                <a16:creationId xmlns:a16="http://schemas.microsoft.com/office/drawing/2014/main" id="{C1B89FBA-D051-49EB-BB4A-3A05178B32CB}"/>
              </a:ext>
            </a:extLst>
          </p:cNvPr>
          <p:cNvSpPr/>
          <p:nvPr userDrawn="1"/>
        </p:nvSpPr>
        <p:spPr>
          <a:xfrm rot="10800000">
            <a:off x="9223192" y="6232949"/>
            <a:ext cx="3719865" cy="94102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34127"/>
              <a:gd name="connsiteY0" fmla="*/ 0 h 21324"/>
              <a:gd name="connsiteX1" fmla="*/ 34127 w 34127"/>
              <a:gd name="connsiteY1" fmla="*/ 0 h 21324"/>
              <a:gd name="connsiteX2" fmla="*/ 21600 w 34127"/>
              <a:gd name="connsiteY2" fmla="*/ 17322 h 21324"/>
              <a:gd name="connsiteX3" fmla="*/ 0 w 34127"/>
              <a:gd name="connsiteY3" fmla="*/ 20172 h 21324"/>
              <a:gd name="connsiteX4" fmla="*/ 0 w 34127"/>
              <a:gd name="connsiteY4" fmla="*/ 0 h 21324"/>
              <a:gd name="connsiteX0" fmla="*/ 0 w 34127"/>
              <a:gd name="connsiteY0" fmla="*/ 0 h 20746"/>
              <a:gd name="connsiteX1" fmla="*/ 34127 w 34127"/>
              <a:gd name="connsiteY1" fmla="*/ 0 h 20746"/>
              <a:gd name="connsiteX2" fmla="*/ 28813 w 34127"/>
              <a:gd name="connsiteY2" fmla="*/ 8087 h 20746"/>
              <a:gd name="connsiteX3" fmla="*/ 0 w 34127"/>
              <a:gd name="connsiteY3" fmla="*/ 20172 h 20746"/>
              <a:gd name="connsiteX4" fmla="*/ 0 w 34127"/>
              <a:gd name="connsiteY4" fmla="*/ 0 h 20746"/>
              <a:gd name="connsiteX0" fmla="*/ 0 w 45263"/>
              <a:gd name="connsiteY0" fmla="*/ 13852 h 20746"/>
              <a:gd name="connsiteX1" fmla="*/ 45263 w 45263"/>
              <a:gd name="connsiteY1" fmla="*/ 0 h 20746"/>
              <a:gd name="connsiteX2" fmla="*/ 39949 w 45263"/>
              <a:gd name="connsiteY2" fmla="*/ 8087 h 20746"/>
              <a:gd name="connsiteX3" fmla="*/ 11136 w 45263"/>
              <a:gd name="connsiteY3" fmla="*/ 20172 h 20746"/>
              <a:gd name="connsiteX4" fmla="*/ 0 w 45263"/>
              <a:gd name="connsiteY4" fmla="*/ 13852 h 20746"/>
              <a:gd name="connsiteX0" fmla="*/ 0 w 39949"/>
              <a:gd name="connsiteY0" fmla="*/ 13250 h 20144"/>
              <a:gd name="connsiteX1" fmla="*/ 11224 w 39949"/>
              <a:gd name="connsiteY1" fmla="*/ 0 h 20144"/>
              <a:gd name="connsiteX2" fmla="*/ 39949 w 39949"/>
              <a:gd name="connsiteY2" fmla="*/ 7485 h 20144"/>
              <a:gd name="connsiteX3" fmla="*/ 11136 w 39949"/>
              <a:gd name="connsiteY3" fmla="*/ 19570 h 20144"/>
              <a:gd name="connsiteX4" fmla="*/ 0 w 39949"/>
              <a:gd name="connsiteY4" fmla="*/ 13250 h 20144"/>
              <a:gd name="connsiteX0" fmla="*/ 0 w 37039"/>
              <a:gd name="connsiteY0" fmla="*/ 15258 h 20144"/>
              <a:gd name="connsiteX1" fmla="*/ 8314 w 37039"/>
              <a:gd name="connsiteY1" fmla="*/ 0 h 20144"/>
              <a:gd name="connsiteX2" fmla="*/ 37039 w 37039"/>
              <a:gd name="connsiteY2" fmla="*/ 7485 h 20144"/>
              <a:gd name="connsiteX3" fmla="*/ 8226 w 37039"/>
              <a:gd name="connsiteY3" fmla="*/ 19570 h 20144"/>
              <a:gd name="connsiteX4" fmla="*/ 0 w 37039"/>
              <a:gd name="connsiteY4" fmla="*/ 15258 h 20144"/>
              <a:gd name="connsiteX0" fmla="*/ 0 w 37039"/>
              <a:gd name="connsiteY0" fmla="*/ 13250 h 18136"/>
              <a:gd name="connsiteX1" fmla="*/ 89 w 37039"/>
              <a:gd name="connsiteY1" fmla="*/ 0 h 18136"/>
              <a:gd name="connsiteX2" fmla="*/ 37039 w 37039"/>
              <a:gd name="connsiteY2" fmla="*/ 5477 h 18136"/>
              <a:gd name="connsiteX3" fmla="*/ 8226 w 37039"/>
              <a:gd name="connsiteY3" fmla="*/ 17562 h 18136"/>
              <a:gd name="connsiteX4" fmla="*/ 0 w 37039"/>
              <a:gd name="connsiteY4" fmla="*/ 13250 h 18136"/>
              <a:gd name="connsiteX0" fmla="*/ 0 w 37039"/>
              <a:gd name="connsiteY0" fmla="*/ 12447 h 17333"/>
              <a:gd name="connsiteX1" fmla="*/ 89 w 37039"/>
              <a:gd name="connsiteY1" fmla="*/ 0 h 17333"/>
              <a:gd name="connsiteX2" fmla="*/ 37039 w 37039"/>
              <a:gd name="connsiteY2" fmla="*/ 4674 h 17333"/>
              <a:gd name="connsiteX3" fmla="*/ 8226 w 37039"/>
              <a:gd name="connsiteY3" fmla="*/ 16759 h 17333"/>
              <a:gd name="connsiteX4" fmla="*/ 0 w 37039"/>
              <a:gd name="connsiteY4" fmla="*/ 12447 h 17333"/>
              <a:gd name="connsiteX0" fmla="*/ 0 w 37039"/>
              <a:gd name="connsiteY0" fmla="*/ 12447 h 16556"/>
              <a:gd name="connsiteX1" fmla="*/ 89 w 37039"/>
              <a:gd name="connsiteY1" fmla="*/ 0 h 16556"/>
              <a:gd name="connsiteX2" fmla="*/ 37039 w 37039"/>
              <a:gd name="connsiteY2" fmla="*/ 4674 h 16556"/>
              <a:gd name="connsiteX3" fmla="*/ 13035 w 37039"/>
              <a:gd name="connsiteY3" fmla="*/ 15956 h 16556"/>
              <a:gd name="connsiteX4" fmla="*/ 0 w 37039"/>
              <a:gd name="connsiteY4" fmla="*/ 12447 h 16556"/>
              <a:gd name="connsiteX0" fmla="*/ 0 w 37039"/>
              <a:gd name="connsiteY0" fmla="*/ 12447 h 16007"/>
              <a:gd name="connsiteX1" fmla="*/ 89 w 37039"/>
              <a:gd name="connsiteY1" fmla="*/ 0 h 16007"/>
              <a:gd name="connsiteX2" fmla="*/ 37039 w 37039"/>
              <a:gd name="connsiteY2" fmla="*/ 4674 h 16007"/>
              <a:gd name="connsiteX3" fmla="*/ 13035 w 37039"/>
              <a:gd name="connsiteY3" fmla="*/ 15956 h 16007"/>
              <a:gd name="connsiteX4" fmla="*/ 0 w 37039"/>
              <a:gd name="connsiteY4" fmla="*/ 12447 h 16007"/>
              <a:gd name="connsiteX0" fmla="*/ 44 w 36956"/>
              <a:gd name="connsiteY0" fmla="*/ 14856 h 16007"/>
              <a:gd name="connsiteX1" fmla="*/ 6 w 36956"/>
              <a:gd name="connsiteY1" fmla="*/ 0 h 16007"/>
              <a:gd name="connsiteX2" fmla="*/ 36956 w 36956"/>
              <a:gd name="connsiteY2" fmla="*/ 4674 h 16007"/>
              <a:gd name="connsiteX3" fmla="*/ 12952 w 36956"/>
              <a:gd name="connsiteY3" fmla="*/ 15956 h 16007"/>
              <a:gd name="connsiteX4" fmla="*/ 44 w 36956"/>
              <a:gd name="connsiteY4" fmla="*/ 14856 h 16007"/>
              <a:gd name="connsiteX0" fmla="*/ 44 w 36956"/>
              <a:gd name="connsiteY0" fmla="*/ 14856 h 15375"/>
              <a:gd name="connsiteX1" fmla="*/ 6 w 36956"/>
              <a:gd name="connsiteY1" fmla="*/ 0 h 15375"/>
              <a:gd name="connsiteX2" fmla="*/ 36956 w 36956"/>
              <a:gd name="connsiteY2" fmla="*/ 4674 h 15375"/>
              <a:gd name="connsiteX3" fmla="*/ 16719 w 36956"/>
              <a:gd name="connsiteY3" fmla="*/ 15321 h 15375"/>
              <a:gd name="connsiteX4" fmla="*/ 44 w 36956"/>
              <a:gd name="connsiteY4" fmla="*/ 14856 h 15375"/>
              <a:gd name="connsiteX0" fmla="*/ 44 w 36956"/>
              <a:gd name="connsiteY0" fmla="*/ 14856 h 15338"/>
              <a:gd name="connsiteX1" fmla="*/ 6 w 36956"/>
              <a:gd name="connsiteY1" fmla="*/ 0 h 15338"/>
              <a:gd name="connsiteX2" fmla="*/ 36956 w 36956"/>
              <a:gd name="connsiteY2" fmla="*/ 4674 h 15338"/>
              <a:gd name="connsiteX3" fmla="*/ 15424 w 36956"/>
              <a:gd name="connsiteY3" fmla="*/ 15284 h 15338"/>
              <a:gd name="connsiteX4" fmla="*/ 44 w 36956"/>
              <a:gd name="connsiteY4" fmla="*/ 14856 h 15338"/>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4981"/>
              <a:gd name="connsiteX1" fmla="*/ 6 w 36956"/>
              <a:gd name="connsiteY1" fmla="*/ 0 h 14981"/>
              <a:gd name="connsiteX2" fmla="*/ 36956 w 36956"/>
              <a:gd name="connsiteY2" fmla="*/ 4674 h 14981"/>
              <a:gd name="connsiteX3" fmla="*/ 16837 w 36956"/>
              <a:gd name="connsiteY3" fmla="*/ 14649 h 14981"/>
              <a:gd name="connsiteX4" fmla="*/ 44 w 36956"/>
              <a:gd name="connsiteY4" fmla="*/ 14856 h 14981"/>
              <a:gd name="connsiteX0" fmla="*/ 44 w 36956"/>
              <a:gd name="connsiteY0" fmla="*/ 14856 h 15200"/>
              <a:gd name="connsiteX1" fmla="*/ 6 w 36956"/>
              <a:gd name="connsiteY1" fmla="*/ 0 h 15200"/>
              <a:gd name="connsiteX2" fmla="*/ 36956 w 36956"/>
              <a:gd name="connsiteY2" fmla="*/ 4674 h 15200"/>
              <a:gd name="connsiteX3" fmla="*/ 16107 w 36956"/>
              <a:gd name="connsiteY3" fmla="*/ 14873 h 15200"/>
              <a:gd name="connsiteX4" fmla="*/ 44 w 36956"/>
              <a:gd name="connsiteY4" fmla="*/ 14856 h 15200"/>
              <a:gd name="connsiteX0" fmla="*/ 44 w 36956"/>
              <a:gd name="connsiteY0" fmla="*/ 14856 h 14875"/>
              <a:gd name="connsiteX1" fmla="*/ 6 w 36956"/>
              <a:gd name="connsiteY1" fmla="*/ 0 h 14875"/>
              <a:gd name="connsiteX2" fmla="*/ 36956 w 36956"/>
              <a:gd name="connsiteY2" fmla="*/ 4674 h 14875"/>
              <a:gd name="connsiteX3" fmla="*/ 16107 w 36956"/>
              <a:gd name="connsiteY3" fmla="*/ 14873 h 14875"/>
              <a:gd name="connsiteX4" fmla="*/ 44 w 36956"/>
              <a:gd name="connsiteY4" fmla="*/ 1485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4" h="14875">
                <a:moveTo>
                  <a:pt x="0" y="12206"/>
                </a:moveTo>
                <a:cubicBezTo>
                  <a:pt x="30" y="7789"/>
                  <a:pt x="84" y="4417"/>
                  <a:pt x="114" y="0"/>
                </a:cubicBezTo>
                <a:cubicBezTo>
                  <a:pt x="114" y="5774"/>
                  <a:pt x="37064" y="-1100"/>
                  <a:pt x="37064" y="4674"/>
                </a:cubicBezTo>
                <a:cubicBezTo>
                  <a:pt x="28542" y="4915"/>
                  <a:pt x="29419" y="15052"/>
                  <a:pt x="16215" y="14873"/>
                </a:cubicBezTo>
                <a:cubicBezTo>
                  <a:pt x="4653" y="14108"/>
                  <a:pt x="3457" y="10582"/>
                  <a:pt x="0" y="1220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5" name="Picture 14">
            <a:extLst>
              <a:ext uri="{FF2B5EF4-FFF2-40B4-BE49-F238E27FC236}">
                <a16:creationId xmlns:a16="http://schemas.microsoft.com/office/drawing/2014/main" id="{D3B45A02-A1B5-4B54-A9B0-5E39B3492C9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5233" y="6313020"/>
            <a:ext cx="1432463" cy="376058"/>
          </a:xfrm>
          <a:prstGeom prst="rect">
            <a:avLst/>
          </a:prstGeom>
        </p:spPr>
      </p:pic>
      <p:pic>
        <p:nvPicPr>
          <p:cNvPr id="16" name="Picture 15">
            <a:extLst>
              <a:ext uri="{FF2B5EF4-FFF2-40B4-BE49-F238E27FC236}">
                <a16:creationId xmlns:a16="http://schemas.microsoft.com/office/drawing/2014/main" id="{8E3A09FF-B595-4884-9533-4CA9DFE1DA9F}"/>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57673" y="6313020"/>
            <a:ext cx="923797" cy="358756"/>
          </a:xfrm>
          <a:prstGeom prst="rect">
            <a:avLst/>
          </a:prstGeom>
        </p:spPr>
      </p:pic>
      <p:sp>
        <p:nvSpPr>
          <p:cNvPr id="17" name="Title 1">
            <a:extLst>
              <a:ext uri="{FF2B5EF4-FFF2-40B4-BE49-F238E27FC236}">
                <a16:creationId xmlns:a16="http://schemas.microsoft.com/office/drawing/2014/main" id="{A0F53AC3-E6C3-49D3-BA96-603A12C623C4}"/>
              </a:ext>
            </a:extLst>
          </p:cNvPr>
          <p:cNvSpPr txBox="1">
            <a:spLocks/>
          </p:cNvSpPr>
          <p:nvPr userDrawn="1"/>
        </p:nvSpPr>
        <p:spPr>
          <a:xfrm>
            <a:off x="4128312" y="2844463"/>
            <a:ext cx="3935376" cy="1169074"/>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rtl="0"/>
            <a:r>
              <a:rPr lang="en-GB" sz="8000">
                <a:solidFill>
                  <a:schemeClr val="bg1"/>
                </a:solidFill>
              </a:rPr>
              <a:t>Thank you </a:t>
            </a:r>
            <a:endParaRPr lang="en-GB" sz="8000" dirty="0">
              <a:solidFill>
                <a:schemeClr val="bg1"/>
              </a:solidFill>
            </a:endParaRPr>
          </a:p>
        </p:txBody>
      </p:sp>
    </p:spTree>
    <p:extLst>
      <p:ext uri="{BB962C8B-B14F-4D97-AF65-F5344CB8AC3E}">
        <p14:creationId xmlns:p14="http://schemas.microsoft.com/office/powerpoint/2010/main" val="23624702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040838B-09D9-4BC4-B5FF-AB4B0DD0F6B6}"/>
              </a:ext>
            </a:extLst>
          </p:cNvPr>
          <p:cNvGraphicFramePr>
            <a:graphicFrameLocks noChangeAspect="1"/>
          </p:cNvGraphicFramePr>
          <p:nvPr userDrawn="1">
            <p:custDataLst>
              <p:tags r:id="rId1"/>
            </p:custDataLst>
            <p:extLst>
              <p:ext uri="{D42A27DB-BD31-4B8C-83A1-F6EECF244321}">
                <p14:modId xmlns:p14="http://schemas.microsoft.com/office/powerpoint/2010/main" val="2006405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2040838B-09D9-4BC4-B5FF-AB4B0DD0F6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Placeholder 2">
            <a:extLst>
              <a:ext uri="{FF2B5EF4-FFF2-40B4-BE49-F238E27FC236}">
                <a16:creationId xmlns:a16="http://schemas.microsoft.com/office/drawing/2014/main" id="{2CEC5275-DA7A-4D12-AFF5-CF139FAB1A78}"/>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14800" b="14800"/>
          <a:stretch>
            <a:fillRect/>
          </a:stretch>
        </p:blipFill>
        <p:spPr>
          <a:xfrm>
            <a:off x="0" y="0"/>
            <a:ext cx="12192000" cy="6858000"/>
          </a:xfrm>
          <a:prstGeom prst="rect">
            <a:avLst/>
          </a:prstGeom>
        </p:spPr>
      </p:pic>
      <p:sp>
        <p:nvSpPr>
          <p:cNvPr id="12" name="Flowchart: Process 11">
            <a:extLst>
              <a:ext uri="{FF2B5EF4-FFF2-40B4-BE49-F238E27FC236}">
                <a16:creationId xmlns:a16="http://schemas.microsoft.com/office/drawing/2014/main" id="{A2C82F6A-B9C4-4D80-9AA4-6A7FD79C6298}"/>
              </a:ext>
            </a:extLst>
          </p:cNvPr>
          <p:cNvSpPr/>
          <p:nvPr userDrawn="1"/>
        </p:nvSpPr>
        <p:spPr>
          <a:xfrm>
            <a:off x="0" y="0"/>
            <a:ext cx="12191999" cy="6860017"/>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sp>
        <p:nvSpPr>
          <p:cNvPr id="17" name="Title 1">
            <a:extLst>
              <a:ext uri="{FF2B5EF4-FFF2-40B4-BE49-F238E27FC236}">
                <a16:creationId xmlns:a16="http://schemas.microsoft.com/office/drawing/2014/main" id="{1053DE72-E62A-44EA-A729-CF415BB27163}"/>
              </a:ext>
            </a:extLst>
          </p:cNvPr>
          <p:cNvSpPr txBox="1">
            <a:spLocks/>
          </p:cNvSpPr>
          <p:nvPr userDrawn="1"/>
        </p:nvSpPr>
        <p:spPr>
          <a:xfrm>
            <a:off x="4128312" y="2844463"/>
            <a:ext cx="3935376" cy="1169074"/>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rtl="0"/>
            <a:r>
              <a:rPr lang="en-GB" sz="8000">
                <a:solidFill>
                  <a:schemeClr val="bg1"/>
                </a:solidFill>
              </a:rPr>
              <a:t>Thank you </a:t>
            </a:r>
            <a:endParaRPr lang="en-GB" sz="8000" dirty="0">
              <a:solidFill>
                <a:schemeClr val="bg1"/>
              </a:solidFill>
            </a:endParaRPr>
          </a:p>
        </p:txBody>
      </p:sp>
      <p:sp>
        <p:nvSpPr>
          <p:cNvPr id="18" name="Flowchart: Document 18">
            <a:extLst>
              <a:ext uri="{FF2B5EF4-FFF2-40B4-BE49-F238E27FC236}">
                <a16:creationId xmlns:a16="http://schemas.microsoft.com/office/drawing/2014/main" id="{3E93ED59-AF07-4D26-AA3D-61FA0F11F3ED}"/>
              </a:ext>
            </a:extLst>
          </p:cNvPr>
          <p:cNvSpPr/>
          <p:nvPr userDrawn="1"/>
        </p:nvSpPr>
        <p:spPr>
          <a:xfrm rot="10800000">
            <a:off x="9223192" y="6232949"/>
            <a:ext cx="3719865" cy="94102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34127"/>
              <a:gd name="connsiteY0" fmla="*/ 0 h 21324"/>
              <a:gd name="connsiteX1" fmla="*/ 34127 w 34127"/>
              <a:gd name="connsiteY1" fmla="*/ 0 h 21324"/>
              <a:gd name="connsiteX2" fmla="*/ 21600 w 34127"/>
              <a:gd name="connsiteY2" fmla="*/ 17322 h 21324"/>
              <a:gd name="connsiteX3" fmla="*/ 0 w 34127"/>
              <a:gd name="connsiteY3" fmla="*/ 20172 h 21324"/>
              <a:gd name="connsiteX4" fmla="*/ 0 w 34127"/>
              <a:gd name="connsiteY4" fmla="*/ 0 h 21324"/>
              <a:gd name="connsiteX0" fmla="*/ 0 w 34127"/>
              <a:gd name="connsiteY0" fmla="*/ 0 h 20746"/>
              <a:gd name="connsiteX1" fmla="*/ 34127 w 34127"/>
              <a:gd name="connsiteY1" fmla="*/ 0 h 20746"/>
              <a:gd name="connsiteX2" fmla="*/ 28813 w 34127"/>
              <a:gd name="connsiteY2" fmla="*/ 8087 h 20746"/>
              <a:gd name="connsiteX3" fmla="*/ 0 w 34127"/>
              <a:gd name="connsiteY3" fmla="*/ 20172 h 20746"/>
              <a:gd name="connsiteX4" fmla="*/ 0 w 34127"/>
              <a:gd name="connsiteY4" fmla="*/ 0 h 20746"/>
              <a:gd name="connsiteX0" fmla="*/ 0 w 45263"/>
              <a:gd name="connsiteY0" fmla="*/ 13852 h 20746"/>
              <a:gd name="connsiteX1" fmla="*/ 45263 w 45263"/>
              <a:gd name="connsiteY1" fmla="*/ 0 h 20746"/>
              <a:gd name="connsiteX2" fmla="*/ 39949 w 45263"/>
              <a:gd name="connsiteY2" fmla="*/ 8087 h 20746"/>
              <a:gd name="connsiteX3" fmla="*/ 11136 w 45263"/>
              <a:gd name="connsiteY3" fmla="*/ 20172 h 20746"/>
              <a:gd name="connsiteX4" fmla="*/ 0 w 45263"/>
              <a:gd name="connsiteY4" fmla="*/ 13852 h 20746"/>
              <a:gd name="connsiteX0" fmla="*/ 0 w 39949"/>
              <a:gd name="connsiteY0" fmla="*/ 13250 h 20144"/>
              <a:gd name="connsiteX1" fmla="*/ 11224 w 39949"/>
              <a:gd name="connsiteY1" fmla="*/ 0 h 20144"/>
              <a:gd name="connsiteX2" fmla="*/ 39949 w 39949"/>
              <a:gd name="connsiteY2" fmla="*/ 7485 h 20144"/>
              <a:gd name="connsiteX3" fmla="*/ 11136 w 39949"/>
              <a:gd name="connsiteY3" fmla="*/ 19570 h 20144"/>
              <a:gd name="connsiteX4" fmla="*/ 0 w 39949"/>
              <a:gd name="connsiteY4" fmla="*/ 13250 h 20144"/>
              <a:gd name="connsiteX0" fmla="*/ 0 w 37039"/>
              <a:gd name="connsiteY0" fmla="*/ 15258 h 20144"/>
              <a:gd name="connsiteX1" fmla="*/ 8314 w 37039"/>
              <a:gd name="connsiteY1" fmla="*/ 0 h 20144"/>
              <a:gd name="connsiteX2" fmla="*/ 37039 w 37039"/>
              <a:gd name="connsiteY2" fmla="*/ 7485 h 20144"/>
              <a:gd name="connsiteX3" fmla="*/ 8226 w 37039"/>
              <a:gd name="connsiteY3" fmla="*/ 19570 h 20144"/>
              <a:gd name="connsiteX4" fmla="*/ 0 w 37039"/>
              <a:gd name="connsiteY4" fmla="*/ 15258 h 20144"/>
              <a:gd name="connsiteX0" fmla="*/ 0 w 37039"/>
              <a:gd name="connsiteY0" fmla="*/ 13250 h 18136"/>
              <a:gd name="connsiteX1" fmla="*/ 89 w 37039"/>
              <a:gd name="connsiteY1" fmla="*/ 0 h 18136"/>
              <a:gd name="connsiteX2" fmla="*/ 37039 w 37039"/>
              <a:gd name="connsiteY2" fmla="*/ 5477 h 18136"/>
              <a:gd name="connsiteX3" fmla="*/ 8226 w 37039"/>
              <a:gd name="connsiteY3" fmla="*/ 17562 h 18136"/>
              <a:gd name="connsiteX4" fmla="*/ 0 w 37039"/>
              <a:gd name="connsiteY4" fmla="*/ 13250 h 18136"/>
              <a:gd name="connsiteX0" fmla="*/ 0 w 37039"/>
              <a:gd name="connsiteY0" fmla="*/ 12447 h 17333"/>
              <a:gd name="connsiteX1" fmla="*/ 89 w 37039"/>
              <a:gd name="connsiteY1" fmla="*/ 0 h 17333"/>
              <a:gd name="connsiteX2" fmla="*/ 37039 w 37039"/>
              <a:gd name="connsiteY2" fmla="*/ 4674 h 17333"/>
              <a:gd name="connsiteX3" fmla="*/ 8226 w 37039"/>
              <a:gd name="connsiteY3" fmla="*/ 16759 h 17333"/>
              <a:gd name="connsiteX4" fmla="*/ 0 w 37039"/>
              <a:gd name="connsiteY4" fmla="*/ 12447 h 17333"/>
              <a:gd name="connsiteX0" fmla="*/ 0 w 37039"/>
              <a:gd name="connsiteY0" fmla="*/ 12447 h 16556"/>
              <a:gd name="connsiteX1" fmla="*/ 89 w 37039"/>
              <a:gd name="connsiteY1" fmla="*/ 0 h 16556"/>
              <a:gd name="connsiteX2" fmla="*/ 37039 w 37039"/>
              <a:gd name="connsiteY2" fmla="*/ 4674 h 16556"/>
              <a:gd name="connsiteX3" fmla="*/ 13035 w 37039"/>
              <a:gd name="connsiteY3" fmla="*/ 15956 h 16556"/>
              <a:gd name="connsiteX4" fmla="*/ 0 w 37039"/>
              <a:gd name="connsiteY4" fmla="*/ 12447 h 16556"/>
              <a:gd name="connsiteX0" fmla="*/ 0 w 37039"/>
              <a:gd name="connsiteY0" fmla="*/ 12447 h 16007"/>
              <a:gd name="connsiteX1" fmla="*/ 89 w 37039"/>
              <a:gd name="connsiteY1" fmla="*/ 0 h 16007"/>
              <a:gd name="connsiteX2" fmla="*/ 37039 w 37039"/>
              <a:gd name="connsiteY2" fmla="*/ 4674 h 16007"/>
              <a:gd name="connsiteX3" fmla="*/ 13035 w 37039"/>
              <a:gd name="connsiteY3" fmla="*/ 15956 h 16007"/>
              <a:gd name="connsiteX4" fmla="*/ 0 w 37039"/>
              <a:gd name="connsiteY4" fmla="*/ 12447 h 16007"/>
              <a:gd name="connsiteX0" fmla="*/ 44 w 36956"/>
              <a:gd name="connsiteY0" fmla="*/ 14856 h 16007"/>
              <a:gd name="connsiteX1" fmla="*/ 6 w 36956"/>
              <a:gd name="connsiteY1" fmla="*/ 0 h 16007"/>
              <a:gd name="connsiteX2" fmla="*/ 36956 w 36956"/>
              <a:gd name="connsiteY2" fmla="*/ 4674 h 16007"/>
              <a:gd name="connsiteX3" fmla="*/ 12952 w 36956"/>
              <a:gd name="connsiteY3" fmla="*/ 15956 h 16007"/>
              <a:gd name="connsiteX4" fmla="*/ 44 w 36956"/>
              <a:gd name="connsiteY4" fmla="*/ 14856 h 16007"/>
              <a:gd name="connsiteX0" fmla="*/ 44 w 36956"/>
              <a:gd name="connsiteY0" fmla="*/ 14856 h 15375"/>
              <a:gd name="connsiteX1" fmla="*/ 6 w 36956"/>
              <a:gd name="connsiteY1" fmla="*/ 0 h 15375"/>
              <a:gd name="connsiteX2" fmla="*/ 36956 w 36956"/>
              <a:gd name="connsiteY2" fmla="*/ 4674 h 15375"/>
              <a:gd name="connsiteX3" fmla="*/ 16719 w 36956"/>
              <a:gd name="connsiteY3" fmla="*/ 15321 h 15375"/>
              <a:gd name="connsiteX4" fmla="*/ 44 w 36956"/>
              <a:gd name="connsiteY4" fmla="*/ 14856 h 15375"/>
              <a:gd name="connsiteX0" fmla="*/ 44 w 36956"/>
              <a:gd name="connsiteY0" fmla="*/ 14856 h 15338"/>
              <a:gd name="connsiteX1" fmla="*/ 6 w 36956"/>
              <a:gd name="connsiteY1" fmla="*/ 0 h 15338"/>
              <a:gd name="connsiteX2" fmla="*/ 36956 w 36956"/>
              <a:gd name="connsiteY2" fmla="*/ 4674 h 15338"/>
              <a:gd name="connsiteX3" fmla="*/ 15424 w 36956"/>
              <a:gd name="connsiteY3" fmla="*/ 15284 h 15338"/>
              <a:gd name="connsiteX4" fmla="*/ 44 w 36956"/>
              <a:gd name="connsiteY4" fmla="*/ 14856 h 15338"/>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4981"/>
              <a:gd name="connsiteX1" fmla="*/ 6 w 36956"/>
              <a:gd name="connsiteY1" fmla="*/ 0 h 14981"/>
              <a:gd name="connsiteX2" fmla="*/ 36956 w 36956"/>
              <a:gd name="connsiteY2" fmla="*/ 4674 h 14981"/>
              <a:gd name="connsiteX3" fmla="*/ 16837 w 36956"/>
              <a:gd name="connsiteY3" fmla="*/ 14649 h 14981"/>
              <a:gd name="connsiteX4" fmla="*/ 44 w 36956"/>
              <a:gd name="connsiteY4" fmla="*/ 14856 h 14981"/>
              <a:gd name="connsiteX0" fmla="*/ 44 w 36956"/>
              <a:gd name="connsiteY0" fmla="*/ 14856 h 15200"/>
              <a:gd name="connsiteX1" fmla="*/ 6 w 36956"/>
              <a:gd name="connsiteY1" fmla="*/ 0 h 15200"/>
              <a:gd name="connsiteX2" fmla="*/ 36956 w 36956"/>
              <a:gd name="connsiteY2" fmla="*/ 4674 h 15200"/>
              <a:gd name="connsiteX3" fmla="*/ 16107 w 36956"/>
              <a:gd name="connsiteY3" fmla="*/ 14873 h 15200"/>
              <a:gd name="connsiteX4" fmla="*/ 44 w 36956"/>
              <a:gd name="connsiteY4" fmla="*/ 14856 h 15200"/>
              <a:gd name="connsiteX0" fmla="*/ 44 w 36956"/>
              <a:gd name="connsiteY0" fmla="*/ 14856 h 14875"/>
              <a:gd name="connsiteX1" fmla="*/ 6 w 36956"/>
              <a:gd name="connsiteY1" fmla="*/ 0 h 14875"/>
              <a:gd name="connsiteX2" fmla="*/ 36956 w 36956"/>
              <a:gd name="connsiteY2" fmla="*/ 4674 h 14875"/>
              <a:gd name="connsiteX3" fmla="*/ 16107 w 36956"/>
              <a:gd name="connsiteY3" fmla="*/ 14873 h 14875"/>
              <a:gd name="connsiteX4" fmla="*/ 44 w 36956"/>
              <a:gd name="connsiteY4" fmla="*/ 1485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4" h="14875">
                <a:moveTo>
                  <a:pt x="0" y="12206"/>
                </a:moveTo>
                <a:cubicBezTo>
                  <a:pt x="30" y="7789"/>
                  <a:pt x="84" y="4417"/>
                  <a:pt x="114" y="0"/>
                </a:cubicBezTo>
                <a:cubicBezTo>
                  <a:pt x="114" y="5774"/>
                  <a:pt x="37064" y="-1100"/>
                  <a:pt x="37064" y="4674"/>
                </a:cubicBezTo>
                <a:cubicBezTo>
                  <a:pt x="28542" y="4915"/>
                  <a:pt x="29419" y="15052"/>
                  <a:pt x="16215" y="14873"/>
                </a:cubicBezTo>
                <a:cubicBezTo>
                  <a:pt x="4653" y="14108"/>
                  <a:pt x="3457" y="10582"/>
                  <a:pt x="0" y="1220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9" name="Picture 18">
            <a:extLst>
              <a:ext uri="{FF2B5EF4-FFF2-40B4-BE49-F238E27FC236}">
                <a16:creationId xmlns:a16="http://schemas.microsoft.com/office/drawing/2014/main" id="{DBD82041-BF8E-4F86-A76B-EC2A3E88E6D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75233" y="6313020"/>
            <a:ext cx="1432463" cy="376058"/>
          </a:xfrm>
          <a:prstGeom prst="rect">
            <a:avLst/>
          </a:prstGeom>
        </p:spPr>
      </p:pic>
      <p:pic>
        <p:nvPicPr>
          <p:cNvPr id="20" name="Picture 19">
            <a:extLst>
              <a:ext uri="{FF2B5EF4-FFF2-40B4-BE49-F238E27FC236}">
                <a16:creationId xmlns:a16="http://schemas.microsoft.com/office/drawing/2014/main" id="{A21F5683-CF71-4E0F-9E29-6F4C2B05164D}"/>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57673" y="6313020"/>
            <a:ext cx="923797" cy="358756"/>
          </a:xfrm>
          <a:prstGeom prst="rect">
            <a:avLst/>
          </a:prstGeom>
        </p:spPr>
      </p:pic>
    </p:spTree>
    <p:extLst>
      <p:ext uri="{BB962C8B-B14F-4D97-AF65-F5344CB8AC3E}">
        <p14:creationId xmlns:p14="http://schemas.microsoft.com/office/powerpoint/2010/main" val="1655635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946ABEA-E63E-46BB-B726-D15724D12BDE}"/>
              </a:ext>
            </a:extLst>
          </p:cNvPr>
          <p:cNvGraphicFramePr>
            <a:graphicFrameLocks noChangeAspect="1"/>
          </p:cNvGraphicFramePr>
          <p:nvPr userDrawn="1">
            <p:custDataLst>
              <p:tags r:id="rId1"/>
            </p:custDataLst>
            <p:extLst>
              <p:ext uri="{D42A27DB-BD31-4B8C-83A1-F6EECF244321}">
                <p14:modId xmlns:p14="http://schemas.microsoft.com/office/powerpoint/2010/main" val="1896059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3946ABEA-E63E-46BB-B726-D15724D12B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12CA21A-98F4-474B-86AD-720227A30075}"/>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flip="none" rotWithShape="1">
            <a:gsLst>
              <a:gs pos="48000">
                <a:srgbClr val="43C0BA"/>
              </a:gs>
              <a:gs pos="24000">
                <a:srgbClr val="1759A9"/>
              </a:gs>
              <a:gs pos="0">
                <a:srgbClr val="288EBF"/>
              </a:gs>
              <a:gs pos="89000">
                <a:srgbClr val="F49222"/>
              </a:gs>
              <a:gs pos="68000">
                <a:srgbClr val="C3DB63"/>
              </a:gs>
            </a:gsLst>
            <a:path path="circle">
              <a:fillToRect l="100000" t="100000"/>
            </a:path>
            <a:tileRect r="-100000" b="-100000"/>
          </a:gradFill>
          <a:ln w="25400" cap="flat">
            <a:noFill/>
            <a:miter lim="800000"/>
            <a:headEnd type="none" w="med" len="med"/>
            <a:tailEnd type="none" w="med" len="med"/>
          </a:ln>
        </p:spPr>
      </p:pic>
      <p:sp>
        <p:nvSpPr>
          <p:cNvPr id="4" name="Rectangle 3">
            <a:extLst>
              <a:ext uri="{FF2B5EF4-FFF2-40B4-BE49-F238E27FC236}">
                <a16:creationId xmlns:a16="http://schemas.microsoft.com/office/drawing/2014/main" id="{865340C4-3C34-4325-98D7-CFCB5D0B0E3A}"/>
              </a:ext>
            </a:extLst>
          </p:cNvPr>
          <p:cNvSpPr/>
          <p:nvPr userDrawn="1"/>
        </p:nvSpPr>
        <p:spPr>
          <a:xfrm>
            <a:off x="5606143" y="6669157"/>
            <a:ext cx="696508" cy="188843"/>
          </a:xfrm>
          <a:prstGeom prst="rect">
            <a:avLst/>
          </a:prstGeom>
          <a:solidFill>
            <a:srgbClr val="034D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6" name="Picture 15">
            <a:extLst>
              <a:ext uri="{FF2B5EF4-FFF2-40B4-BE49-F238E27FC236}">
                <a16:creationId xmlns:a16="http://schemas.microsoft.com/office/drawing/2014/main" id="{81CE37AA-0A3C-476C-8572-4F181BA8B3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596067" y="3125481"/>
            <a:ext cx="4948425" cy="1763264"/>
          </a:xfrm>
          <a:prstGeom prst="rect">
            <a:avLst/>
          </a:prstGeom>
        </p:spPr>
      </p:pic>
      <p:sp>
        <p:nvSpPr>
          <p:cNvPr id="14" name="Shape 3870">
            <a:extLst>
              <a:ext uri="{FF2B5EF4-FFF2-40B4-BE49-F238E27FC236}">
                <a16:creationId xmlns:a16="http://schemas.microsoft.com/office/drawing/2014/main" id="{64E067DE-E1EA-40CC-BEE7-5D87C3D7F9F4}"/>
              </a:ext>
            </a:extLst>
          </p:cNvPr>
          <p:cNvSpPr/>
          <p:nvPr userDrawn="1"/>
        </p:nvSpPr>
        <p:spPr>
          <a:xfrm>
            <a:off x="1966387" y="4744270"/>
            <a:ext cx="385926" cy="28067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3"/>
                  <a:pt x="19964" y="1433"/>
                </a:cubicBezTo>
                <a:lnTo>
                  <a:pt x="11465" y="13118"/>
                </a:lnTo>
                <a:cubicBezTo>
                  <a:pt x="11288" y="13363"/>
                  <a:pt x="11051" y="13497"/>
                  <a:pt x="10800" y="13497"/>
                </a:cubicBezTo>
                <a:cubicBezTo>
                  <a:pt x="10549" y="13497"/>
                  <a:pt x="10312" y="13363"/>
                  <a:pt x="10134" y="13118"/>
                </a:cubicBezTo>
                <a:lnTo>
                  <a:pt x="1637" y="1433"/>
                </a:lnTo>
                <a:cubicBezTo>
                  <a:pt x="1739" y="1383"/>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bg1"/>
          </a:solidFill>
          <a:ln w="12700">
            <a:miter lim="400000"/>
          </a:ln>
        </p:spPr>
        <p:txBody>
          <a:bodyPr lIns="38100" tIns="38100" rIns="38100" bIns="38100" anchor="ctr"/>
          <a:lstStyle/>
          <a:p>
            <a:pPr rtl="0"/>
            <a:endParaRPr lang="en-GB" dirty="0">
              <a:solidFill>
                <a:prstClr val="black"/>
              </a:solidFill>
              <a:latin typeface="EC Square Sans Pro" panose="020B0506040000020004" pitchFamily="34" charset="0"/>
            </a:endParaRPr>
          </a:p>
        </p:txBody>
      </p:sp>
      <p:sp>
        <p:nvSpPr>
          <p:cNvPr id="15" name="Shape 3893">
            <a:extLst>
              <a:ext uri="{FF2B5EF4-FFF2-40B4-BE49-F238E27FC236}">
                <a16:creationId xmlns:a16="http://schemas.microsoft.com/office/drawing/2014/main" id="{5269B683-5BC1-4256-818D-23FC3620A786}"/>
              </a:ext>
            </a:extLst>
          </p:cNvPr>
          <p:cNvSpPr/>
          <p:nvPr userDrawn="1"/>
        </p:nvSpPr>
        <p:spPr>
          <a:xfrm>
            <a:off x="1916959" y="3690314"/>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2"/>
                  <a:pt x="11183" y="9162"/>
                  <a:pt x="11217" y="9308"/>
                </a:cubicBezTo>
                <a:cubicBezTo>
                  <a:pt x="9543" y="9226"/>
                  <a:pt x="8059" y="8436"/>
                  <a:pt x="7065" y="7236"/>
                </a:cubicBezTo>
                <a:cubicBezTo>
                  <a:pt x="6892" y="7530"/>
                  <a:pt x="6793" y="7870"/>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bg1"/>
          </a:solidFill>
          <a:ln w="12700">
            <a:miter lim="400000"/>
          </a:ln>
        </p:spPr>
        <p:txBody>
          <a:bodyPr lIns="38100" tIns="38100" rIns="38100" bIns="38100" anchor="ctr"/>
          <a:lstStyle/>
          <a:p>
            <a:pPr rtl="0"/>
            <a:endParaRPr lang="en-GB" dirty="0">
              <a:solidFill>
                <a:prstClr val="black"/>
              </a:solidFill>
              <a:latin typeface="EC Square Sans Pro" panose="020B0506040000020004" pitchFamily="34" charset="0"/>
            </a:endParaRPr>
          </a:p>
        </p:txBody>
      </p:sp>
      <p:sp>
        <p:nvSpPr>
          <p:cNvPr id="17" name="Shape 3899">
            <a:extLst>
              <a:ext uri="{FF2B5EF4-FFF2-40B4-BE49-F238E27FC236}">
                <a16:creationId xmlns:a16="http://schemas.microsoft.com/office/drawing/2014/main" id="{31737187-A6D9-4F8D-9FFC-816786297B17}"/>
              </a:ext>
            </a:extLst>
          </p:cNvPr>
          <p:cNvSpPr/>
          <p:nvPr userDrawn="1"/>
        </p:nvSpPr>
        <p:spPr>
          <a:xfrm>
            <a:off x="1940943" y="4217292"/>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bg1"/>
          </a:solidFill>
          <a:ln w="12700">
            <a:miter lim="400000"/>
          </a:ln>
        </p:spPr>
        <p:txBody>
          <a:bodyPr lIns="38100" tIns="38100" rIns="38100" bIns="38100" anchor="ctr"/>
          <a:lstStyle/>
          <a:p>
            <a:pPr rtl="0"/>
            <a:endParaRPr lang="en-GB" dirty="0">
              <a:solidFill>
                <a:prstClr val="black"/>
              </a:solidFill>
              <a:latin typeface="EC Square Sans Pro" panose="020B0506040000020004" pitchFamily="34" charset="0"/>
            </a:endParaRPr>
          </a:p>
        </p:txBody>
      </p:sp>
      <p:sp>
        <p:nvSpPr>
          <p:cNvPr id="18" name="Shape 3788">
            <a:extLst>
              <a:ext uri="{FF2B5EF4-FFF2-40B4-BE49-F238E27FC236}">
                <a16:creationId xmlns:a16="http://schemas.microsoft.com/office/drawing/2014/main" id="{A9B9A0BD-9C5E-4C86-81DD-68B77BA85D8A}"/>
              </a:ext>
            </a:extLst>
          </p:cNvPr>
          <p:cNvSpPr/>
          <p:nvPr userDrawn="1"/>
        </p:nvSpPr>
        <p:spPr>
          <a:xfrm>
            <a:off x="1940943" y="5127403"/>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69" y="17122"/>
                  <a:pt x="16604" y="16682"/>
                  <a:pt x="15855" y="16325"/>
                </a:cubicBezTo>
                <a:cubicBezTo>
                  <a:pt x="15868" y="16284"/>
                  <a:pt x="15882" y="16244"/>
                  <a:pt x="15895" y="16203"/>
                </a:cubicBezTo>
                <a:cubicBezTo>
                  <a:pt x="16131" y="15457"/>
                  <a:pt x="16320" y="14656"/>
                  <a:pt x="16454" y="13812"/>
                </a:cubicBezTo>
                <a:cubicBezTo>
                  <a:pt x="16470" y="13704"/>
                  <a:pt x="16484" y="13596"/>
                  <a:pt x="16499" y="13488"/>
                </a:cubicBezTo>
                <a:cubicBezTo>
                  <a:pt x="16544" y="13166"/>
                  <a:pt x="16581" y="12839"/>
                  <a:pt x="16610" y="12507"/>
                </a:cubicBezTo>
                <a:cubicBezTo>
                  <a:pt x="16621" y="12383"/>
                  <a:pt x="16632" y="12260"/>
                  <a:pt x="16641" y="12135"/>
                </a:cubicBezTo>
                <a:cubicBezTo>
                  <a:pt x="16660" y="11859"/>
                  <a:pt x="16664" y="11574"/>
                  <a:pt x="16673" y="11291"/>
                </a:cubicBezTo>
                <a:lnTo>
                  <a:pt x="20598" y="11291"/>
                </a:lnTo>
                <a:cubicBezTo>
                  <a:pt x="20476" y="13747"/>
                  <a:pt x="19450" y="15962"/>
                  <a:pt x="17850" y="17620"/>
                </a:cubicBezTo>
                <a:moveTo>
                  <a:pt x="13714" y="20178"/>
                </a:moveTo>
                <a:cubicBezTo>
                  <a:pt x="13925" y="19958"/>
                  <a:pt x="14127" y="19710"/>
                  <a:pt x="14321" y="19444"/>
                </a:cubicBezTo>
                <a:cubicBezTo>
                  <a:pt x="14339" y="19419"/>
                  <a:pt x="14357" y="19395"/>
                  <a:pt x="14375" y="19369"/>
                </a:cubicBezTo>
                <a:cubicBezTo>
                  <a:pt x="14764" y="18822"/>
                  <a:pt x="15116" y="18192"/>
                  <a:pt x="15420" y="17488"/>
                </a:cubicBezTo>
                <a:cubicBezTo>
                  <a:pt x="15436" y="17450"/>
                  <a:pt x="15451" y="17410"/>
                  <a:pt x="15467" y="17372"/>
                </a:cubicBezTo>
                <a:cubicBezTo>
                  <a:pt x="15485" y="17329"/>
                  <a:pt x="15499" y="17282"/>
                  <a:pt x="15516" y="17239"/>
                </a:cubicBezTo>
                <a:cubicBezTo>
                  <a:pt x="16123" y="17536"/>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4" y="12996"/>
                  <a:pt x="15392" y="14581"/>
                  <a:pt x="14970" y="15948"/>
                </a:cubicBezTo>
                <a:cubicBezTo>
                  <a:pt x="13855" y="15534"/>
                  <a:pt x="12608" y="15291"/>
                  <a:pt x="11291" y="15240"/>
                </a:cubicBezTo>
                <a:cubicBezTo>
                  <a:pt x="11291" y="15240"/>
                  <a:pt x="11291" y="11291"/>
                  <a:pt x="11291" y="11291"/>
                </a:cubicBezTo>
                <a:close/>
                <a:moveTo>
                  <a:pt x="11291" y="6361"/>
                </a:moveTo>
                <a:cubicBezTo>
                  <a:pt x="12608" y="6309"/>
                  <a:pt x="13855" y="6066"/>
                  <a:pt x="14970" y="5652"/>
                </a:cubicBezTo>
                <a:cubicBezTo>
                  <a:pt x="15392" y="7019"/>
                  <a:pt x="15654" y="8605"/>
                  <a:pt x="15697" y="10309"/>
                </a:cubicBezTo>
                <a:lnTo>
                  <a:pt x="11291" y="10309"/>
                </a:lnTo>
                <a:cubicBezTo>
                  <a:pt x="11291" y="10309"/>
                  <a:pt x="11291" y="6361"/>
                  <a:pt x="11291" y="6361"/>
                </a:cubicBezTo>
                <a:close/>
                <a:moveTo>
                  <a:pt x="11291" y="1032"/>
                </a:moveTo>
                <a:cubicBezTo>
                  <a:pt x="12654" y="1302"/>
                  <a:pt x="13850" y="2691"/>
                  <a:pt x="14652" y="4731"/>
                </a:cubicBezTo>
                <a:cubicBezTo>
                  <a:pt x="13638" y="5107"/>
                  <a:pt x="12498" y="5329"/>
                  <a:pt x="11291" y="5379"/>
                </a:cubicBezTo>
                <a:cubicBezTo>
                  <a:pt x="11291" y="5379"/>
                  <a:pt x="11291" y="1032"/>
                  <a:pt x="11291" y="1032"/>
                </a:cubicBezTo>
                <a:close/>
                <a:moveTo>
                  <a:pt x="17142" y="3315"/>
                </a:moveTo>
                <a:cubicBezTo>
                  <a:pt x="16665" y="3711"/>
                  <a:pt x="16123" y="4065"/>
                  <a:pt x="15516"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1"/>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5"/>
                  <a:pt x="16499" y="8112"/>
                </a:cubicBezTo>
                <a:cubicBezTo>
                  <a:pt x="16484" y="8005"/>
                  <a:pt x="16470" y="7896"/>
                  <a:pt x="16454" y="7789"/>
                </a:cubicBezTo>
                <a:cubicBezTo>
                  <a:pt x="16320" y="6944"/>
                  <a:pt x="16131" y="6144"/>
                  <a:pt x="15895" y="5397"/>
                </a:cubicBezTo>
                <a:cubicBezTo>
                  <a:pt x="15882" y="5357"/>
                  <a:pt x="15868" y="5317"/>
                  <a:pt x="15855" y="5276"/>
                </a:cubicBezTo>
                <a:cubicBezTo>
                  <a:pt x="16604" y="4918"/>
                  <a:pt x="17269" y="4478"/>
                  <a:pt x="17850" y="3981"/>
                </a:cubicBezTo>
                <a:cubicBezTo>
                  <a:pt x="19450" y="5638"/>
                  <a:pt x="20476" y="7853"/>
                  <a:pt x="20598" y="10309"/>
                </a:cubicBezTo>
                <a:moveTo>
                  <a:pt x="10309" y="5379"/>
                </a:moveTo>
                <a:cubicBezTo>
                  <a:pt x="9101" y="5329"/>
                  <a:pt x="7961" y="5107"/>
                  <a:pt x="6947" y="4731"/>
                </a:cubicBezTo>
                <a:cubicBezTo>
                  <a:pt x="7749" y="2691"/>
                  <a:pt x="8945" y="1302"/>
                  <a:pt x="10309" y="1032"/>
                </a:cubicBezTo>
                <a:cubicBezTo>
                  <a:pt x="10309" y="1032"/>
                  <a:pt x="10309" y="5379"/>
                  <a:pt x="10309" y="5379"/>
                </a:cubicBezTo>
                <a:close/>
                <a:moveTo>
                  <a:pt x="10309" y="10309"/>
                </a:moveTo>
                <a:lnTo>
                  <a:pt x="5902" y="10309"/>
                </a:lnTo>
                <a:cubicBezTo>
                  <a:pt x="5945" y="8605"/>
                  <a:pt x="6207" y="7019"/>
                  <a:pt x="6629" y="5652"/>
                </a:cubicBezTo>
                <a:cubicBezTo>
                  <a:pt x="7744" y="6066"/>
                  <a:pt x="8991" y="6309"/>
                  <a:pt x="10309" y="6361"/>
                </a:cubicBezTo>
                <a:cubicBezTo>
                  <a:pt x="10309" y="6361"/>
                  <a:pt x="10309" y="10309"/>
                  <a:pt x="10309" y="10309"/>
                </a:cubicBezTo>
                <a:close/>
                <a:moveTo>
                  <a:pt x="10309" y="15240"/>
                </a:moveTo>
                <a:cubicBezTo>
                  <a:pt x="8991" y="15291"/>
                  <a:pt x="7744" y="15534"/>
                  <a:pt x="6629" y="15948"/>
                </a:cubicBezTo>
                <a:cubicBezTo>
                  <a:pt x="6207" y="14581"/>
                  <a:pt x="5945" y="12996"/>
                  <a:pt x="5902"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6"/>
                  <a:pt x="6083" y="17239"/>
                </a:cubicBezTo>
                <a:cubicBezTo>
                  <a:pt x="6100" y="17282"/>
                  <a:pt x="6114" y="17329"/>
                  <a:pt x="6132" y="17372"/>
                </a:cubicBezTo>
                <a:cubicBezTo>
                  <a:pt x="6148" y="17410"/>
                  <a:pt x="6163" y="17450"/>
                  <a:pt x="6180" y="17488"/>
                </a:cubicBezTo>
                <a:cubicBezTo>
                  <a:pt x="6483" y="18192"/>
                  <a:pt x="6834" y="18822"/>
                  <a:pt x="7224" y="19369"/>
                </a:cubicBezTo>
                <a:cubicBezTo>
                  <a:pt x="7242" y="19395"/>
                  <a:pt x="7260" y="19419"/>
                  <a:pt x="7278" y="19444"/>
                </a:cubicBezTo>
                <a:cubicBezTo>
                  <a:pt x="7472" y="19710"/>
                  <a:pt x="7674" y="19958"/>
                  <a:pt x="7886" y="20178"/>
                </a:cubicBezTo>
                <a:cubicBezTo>
                  <a:pt x="6610" y="19782"/>
                  <a:pt x="5451" y="19129"/>
                  <a:pt x="4458" y="18285"/>
                </a:cubicBezTo>
                <a:moveTo>
                  <a:pt x="1002" y="11291"/>
                </a:moveTo>
                <a:lnTo>
                  <a:pt x="4927" y="11291"/>
                </a:lnTo>
                <a:cubicBezTo>
                  <a:pt x="4935" y="11574"/>
                  <a:pt x="4940" y="11859"/>
                  <a:pt x="4958" y="12135"/>
                </a:cubicBezTo>
                <a:cubicBezTo>
                  <a:pt x="4967" y="12260"/>
                  <a:pt x="4978" y="12383"/>
                  <a:pt x="4989" y="12507"/>
                </a:cubicBezTo>
                <a:cubicBezTo>
                  <a:pt x="5018" y="12839"/>
                  <a:pt x="5055" y="13166"/>
                  <a:pt x="5100" y="13488"/>
                </a:cubicBezTo>
                <a:cubicBezTo>
                  <a:pt x="5115" y="13596"/>
                  <a:pt x="5129" y="13704"/>
                  <a:pt x="5145" y="13812"/>
                </a:cubicBezTo>
                <a:cubicBezTo>
                  <a:pt x="5279" y="14656"/>
                  <a:pt x="5468" y="15457"/>
                  <a:pt x="5704" y="16203"/>
                </a:cubicBezTo>
                <a:cubicBezTo>
                  <a:pt x="5717" y="16244"/>
                  <a:pt x="5731" y="16284"/>
                  <a:pt x="5744" y="16325"/>
                </a:cubicBezTo>
                <a:cubicBezTo>
                  <a:pt x="4995" y="16682"/>
                  <a:pt x="4329" y="17122"/>
                  <a:pt x="3749" y="17620"/>
                </a:cubicBezTo>
                <a:cubicBezTo>
                  <a:pt x="2150" y="15962"/>
                  <a:pt x="1123" y="13747"/>
                  <a:pt x="1002" y="11291"/>
                </a:cubicBezTo>
                <a:moveTo>
                  <a:pt x="3749" y="3981"/>
                </a:moveTo>
                <a:cubicBezTo>
                  <a:pt x="4329" y="4478"/>
                  <a:pt x="4995" y="4918"/>
                  <a:pt x="5744" y="5276"/>
                </a:cubicBezTo>
                <a:cubicBezTo>
                  <a:pt x="5731" y="5317"/>
                  <a:pt x="5717" y="5357"/>
                  <a:pt x="5704" y="5397"/>
                </a:cubicBezTo>
                <a:cubicBezTo>
                  <a:pt x="5468" y="6144"/>
                  <a:pt x="5279" y="6944"/>
                  <a:pt x="5145" y="7789"/>
                </a:cubicBezTo>
                <a:cubicBezTo>
                  <a:pt x="5129" y="7896"/>
                  <a:pt x="5115" y="8005"/>
                  <a:pt x="5100" y="8112"/>
                </a:cubicBezTo>
                <a:cubicBezTo>
                  <a:pt x="5055" y="8435"/>
                  <a:pt x="5018" y="8761"/>
                  <a:pt x="4989" y="9093"/>
                </a:cubicBezTo>
                <a:cubicBezTo>
                  <a:pt x="4978"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1"/>
                  <a:pt x="7278" y="2156"/>
                </a:cubicBezTo>
                <a:cubicBezTo>
                  <a:pt x="7260" y="2181"/>
                  <a:pt x="7242" y="2206"/>
                  <a:pt x="7224" y="2231"/>
                </a:cubicBezTo>
                <a:cubicBezTo>
                  <a:pt x="6834" y="2778"/>
                  <a:pt x="6483" y="3408"/>
                  <a:pt x="6180" y="4112"/>
                </a:cubicBezTo>
                <a:cubicBezTo>
                  <a:pt x="6163" y="4151"/>
                  <a:pt x="6148" y="4190"/>
                  <a:pt x="6132" y="4229"/>
                </a:cubicBezTo>
                <a:cubicBezTo>
                  <a:pt x="6114"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38100" tIns="38100" rIns="38100" bIns="38100" anchor="ctr"/>
          <a:lstStyle/>
          <a:p>
            <a:pPr rtl="0"/>
            <a:endParaRPr lang="en-GB" dirty="0">
              <a:solidFill>
                <a:prstClr val="black"/>
              </a:solidFill>
              <a:latin typeface="EC Square Sans Pro" panose="020B0506040000020004" pitchFamily="34" charset="0"/>
            </a:endParaRPr>
          </a:p>
        </p:txBody>
      </p:sp>
      <p:sp>
        <p:nvSpPr>
          <p:cNvPr id="19" name="Rectangle 18">
            <a:extLst>
              <a:ext uri="{FF2B5EF4-FFF2-40B4-BE49-F238E27FC236}">
                <a16:creationId xmlns:a16="http://schemas.microsoft.com/office/drawing/2014/main" id="{ED8ADBFC-120B-44D2-AC8B-4C2C12EEEC29}"/>
              </a:ext>
            </a:extLst>
          </p:cNvPr>
          <p:cNvSpPr/>
          <p:nvPr userDrawn="1"/>
        </p:nvSpPr>
        <p:spPr>
          <a:xfrm>
            <a:off x="2643621" y="5088374"/>
            <a:ext cx="2277290" cy="400110"/>
          </a:xfrm>
          <a:prstGeom prst="rect">
            <a:avLst/>
          </a:prstGeom>
        </p:spPr>
        <p:txBody>
          <a:bodyPr wrap="none">
            <a:spAutoFit/>
          </a:bodyPr>
          <a:lstStyle/>
          <a:p>
            <a:pPr rtl="0"/>
            <a:r>
              <a:rPr lang="en-GB" sz="2000" dirty="0">
                <a:hlinkClick r:id="rId7"/>
              </a:rPr>
              <a:t>joinup.ec.europa</a:t>
            </a:r>
            <a:r>
              <a:rPr lang="en-GB" sz="2000">
                <a:hlinkClick r:id="rId7"/>
              </a:rPr>
              <a:t>.eu</a:t>
            </a:r>
            <a:endParaRPr lang="en-GB" sz="1600" dirty="0"/>
          </a:p>
        </p:txBody>
      </p:sp>
      <p:sp>
        <p:nvSpPr>
          <p:cNvPr id="20" name="Rectangle 19">
            <a:extLst>
              <a:ext uri="{FF2B5EF4-FFF2-40B4-BE49-F238E27FC236}">
                <a16:creationId xmlns:a16="http://schemas.microsoft.com/office/drawing/2014/main" id="{9C12A54D-D6C5-431C-B816-FDFD242F9129}"/>
              </a:ext>
            </a:extLst>
          </p:cNvPr>
          <p:cNvSpPr/>
          <p:nvPr userDrawn="1"/>
        </p:nvSpPr>
        <p:spPr>
          <a:xfrm>
            <a:off x="2643621" y="3671796"/>
            <a:ext cx="2852305" cy="400110"/>
          </a:xfrm>
          <a:prstGeom prst="rect">
            <a:avLst/>
          </a:prstGeom>
        </p:spPr>
        <p:txBody>
          <a:bodyPr wrap="square">
            <a:spAutoFit/>
          </a:bodyPr>
          <a:lstStyle/>
          <a:p>
            <a:pPr rtl="0"/>
            <a:r>
              <a:rPr lang="en-GB" sz="2000">
                <a:hlinkClick r:id="rId8"/>
              </a:rPr>
              <a:t>@Joinup_eu</a:t>
            </a:r>
            <a:endParaRPr lang="en-GB" sz="1600" dirty="0"/>
          </a:p>
        </p:txBody>
      </p:sp>
      <p:sp>
        <p:nvSpPr>
          <p:cNvPr id="21" name="Rectangle 20">
            <a:extLst>
              <a:ext uri="{FF2B5EF4-FFF2-40B4-BE49-F238E27FC236}">
                <a16:creationId xmlns:a16="http://schemas.microsoft.com/office/drawing/2014/main" id="{AE77E90D-6312-414B-B801-782A391970A9}"/>
              </a:ext>
            </a:extLst>
          </p:cNvPr>
          <p:cNvSpPr/>
          <p:nvPr userDrawn="1"/>
        </p:nvSpPr>
        <p:spPr>
          <a:xfrm>
            <a:off x="2643621" y="4143989"/>
            <a:ext cx="3138055" cy="400110"/>
          </a:xfrm>
          <a:prstGeom prst="rect">
            <a:avLst/>
          </a:prstGeom>
        </p:spPr>
        <p:txBody>
          <a:bodyPr wrap="square">
            <a:spAutoFit/>
          </a:bodyPr>
          <a:lstStyle/>
          <a:p>
            <a:pPr rtl="0"/>
            <a:r>
              <a:rPr lang="en-GB" sz="2000">
                <a:hlinkClick r:id="rId9"/>
              </a:rPr>
              <a:t>Joinup Community</a:t>
            </a:r>
            <a:endParaRPr lang="en-GB" sz="1600" dirty="0">
              <a:hlinkClick r:id="rId10"/>
            </a:endParaRPr>
          </a:p>
        </p:txBody>
      </p:sp>
      <p:sp>
        <p:nvSpPr>
          <p:cNvPr id="22" name="Rectangle 21">
            <a:extLst>
              <a:ext uri="{FF2B5EF4-FFF2-40B4-BE49-F238E27FC236}">
                <a16:creationId xmlns:a16="http://schemas.microsoft.com/office/drawing/2014/main" id="{E68C528C-626A-4296-8853-7CD27C3E30DB}"/>
              </a:ext>
            </a:extLst>
          </p:cNvPr>
          <p:cNvSpPr/>
          <p:nvPr userDrawn="1"/>
        </p:nvSpPr>
        <p:spPr>
          <a:xfrm>
            <a:off x="2643621" y="4616182"/>
            <a:ext cx="1330558" cy="400110"/>
          </a:xfrm>
          <a:prstGeom prst="rect">
            <a:avLst/>
          </a:prstGeom>
        </p:spPr>
        <p:txBody>
          <a:bodyPr wrap="square">
            <a:spAutoFit/>
          </a:bodyPr>
          <a:lstStyle/>
          <a:p>
            <a:pPr rtl="0"/>
            <a:r>
              <a:rPr lang="en-GB" sz="2000">
                <a:hlinkClick r:id="rId11"/>
              </a:rPr>
              <a:t>Contact us</a:t>
            </a:r>
            <a:endParaRPr lang="en-GB" sz="1600" dirty="0">
              <a:hlinkClick r:id="rId10"/>
            </a:endParaRPr>
          </a:p>
        </p:txBody>
      </p:sp>
      <p:pic>
        <p:nvPicPr>
          <p:cNvPr id="23" name="Picture 22">
            <a:extLst>
              <a:ext uri="{FF2B5EF4-FFF2-40B4-BE49-F238E27FC236}">
                <a16:creationId xmlns:a16="http://schemas.microsoft.com/office/drawing/2014/main" id="{46BB5436-D433-4251-B5AC-6E4E24FF397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940943" y="2405426"/>
            <a:ext cx="2635701" cy="1023574"/>
          </a:xfrm>
          <a:prstGeom prst="rect">
            <a:avLst/>
          </a:prstGeom>
        </p:spPr>
      </p:pic>
    </p:spTree>
    <p:extLst>
      <p:ext uri="{BB962C8B-B14F-4D97-AF65-F5344CB8AC3E}">
        <p14:creationId xmlns:p14="http://schemas.microsoft.com/office/powerpoint/2010/main" val="14978124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BFA8AD5-8D3A-4D18-9AEF-C6A15DA569FA}"/>
              </a:ext>
            </a:extLst>
          </p:cNvPr>
          <p:cNvGraphicFramePr>
            <a:graphicFrameLocks noChangeAspect="1"/>
          </p:cNvGraphicFramePr>
          <p:nvPr userDrawn="1">
            <p:custDataLst>
              <p:tags r:id="rId1"/>
            </p:custDataLst>
            <p:extLst>
              <p:ext uri="{D42A27DB-BD31-4B8C-83A1-F6EECF244321}">
                <p14:modId xmlns:p14="http://schemas.microsoft.com/office/powerpoint/2010/main" val="2501196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CBFA8AD5-8D3A-4D18-9AEF-C6A15DA569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lvl1pPr rtl="0">
              <a:defRPr/>
            </a:lvl1pPr>
          </a:lstStyle>
          <a:p>
            <a:r>
              <a:rPr lang="en-GB"/>
              <a:t>Click to edit Master title style</a:t>
            </a:r>
            <a:endParaRPr lang="en-GB" dirty="0"/>
          </a:p>
        </p:txBody>
      </p:sp>
    </p:spTree>
    <p:extLst>
      <p:ext uri="{BB962C8B-B14F-4D97-AF65-F5344CB8AC3E}">
        <p14:creationId xmlns:p14="http://schemas.microsoft.com/office/powerpoint/2010/main" val="24829137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3409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DFF9E5D-16AB-4F35-8E3E-9F8894EBE438}"/>
              </a:ext>
            </a:extLst>
          </p:cNvPr>
          <p:cNvGraphicFramePr>
            <a:graphicFrameLocks noChangeAspect="1"/>
          </p:cNvGraphicFramePr>
          <p:nvPr userDrawn="1">
            <p:custDataLst>
              <p:tags r:id="rId1"/>
            </p:custDataLst>
            <p:extLst>
              <p:ext uri="{D42A27DB-BD31-4B8C-83A1-F6EECF244321}">
                <p14:modId xmlns:p14="http://schemas.microsoft.com/office/powerpoint/2010/main" val="3970435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9" name="Object 8" hidden="1">
                        <a:extLst>
                          <a:ext uri="{FF2B5EF4-FFF2-40B4-BE49-F238E27FC236}">
                            <a16:creationId xmlns:a16="http://schemas.microsoft.com/office/drawing/2014/main" id="{2DFF9E5D-16AB-4F35-8E3E-9F8894EBE4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Picture Placeholder 2">
            <a:extLst>
              <a:ext uri="{FF2B5EF4-FFF2-40B4-BE49-F238E27FC236}">
                <a16:creationId xmlns:a16="http://schemas.microsoft.com/office/drawing/2014/main" id="{0BB5F7EA-8AA2-4376-B086-187B71F39971}"/>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20369" b="20369"/>
          <a:stretch>
            <a:fillRect/>
          </a:stretch>
        </p:blipFill>
        <p:spPr>
          <a:xfrm>
            <a:off x="0" y="1077913"/>
            <a:ext cx="12192000" cy="5780087"/>
          </a:xfrm>
          <a:prstGeom prst="rect">
            <a:avLst/>
          </a:prstGeom>
        </p:spPr>
      </p:pic>
      <p:pic>
        <p:nvPicPr>
          <p:cNvPr id="4" name="Picture 3">
            <a:extLst>
              <a:ext uri="{FF2B5EF4-FFF2-40B4-BE49-F238E27FC236}">
                <a16:creationId xmlns:a16="http://schemas.microsoft.com/office/drawing/2014/main" id="{DA5B1938-9BA2-4773-82E9-CF67B68B07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1355" y="258042"/>
            <a:ext cx="1659793" cy="1152460"/>
          </a:xfrm>
          <a:prstGeom prst="rect">
            <a:avLst/>
          </a:prstGeom>
        </p:spPr>
      </p:pic>
      <p:sp>
        <p:nvSpPr>
          <p:cNvPr id="5" name="Rectangle 4">
            <a:extLst>
              <a:ext uri="{FF2B5EF4-FFF2-40B4-BE49-F238E27FC236}">
                <a16:creationId xmlns:a16="http://schemas.microsoft.com/office/drawing/2014/main" id="{6B7EB19A-4D87-4794-BA9C-402904F63F0E}"/>
              </a:ext>
            </a:extLst>
          </p:cNvPr>
          <p:cNvSpPr/>
          <p:nvPr userDrawn="1"/>
        </p:nvSpPr>
        <p:spPr>
          <a:xfrm>
            <a:off x="5703580"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GB" dirty="0"/>
          </a:p>
        </p:txBody>
      </p:sp>
      <p:sp>
        <p:nvSpPr>
          <p:cNvPr id="6" name="Flowchart: Process 5">
            <a:extLst>
              <a:ext uri="{FF2B5EF4-FFF2-40B4-BE49-F238E27FC236}">
                <a16:creationId xmlns:a16="http://schemas.microsoft.com/office/drawing/2014/main" id="{DCC38E46-C80B-4C8C-B627-18A612F91F3E}"/>
              </a:ext>
            </a:extLst>
          </p:cNvPr>
          <p:cNvSpPr/>
          <p:nvPr userDrawn="1"/>
        </p:nvSpPr>
        <p:spPr>
          <a:xfrm>
            <a:off x="0" y="1076155"/>
            <a:ext cx="12192000" cy="5781845"/>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pic>
        <p:nvPicPr>
          <p:cNvPr id="7" name="Picture 6">
            <a:extLst>
              <a:ext uri="{FF2B5EF4-FFF2-40B4-BE49-F238E27FC236}">
                <a16:creationId xmlns:a16="http://schemas.microsoft.com/office/drawing/2014/main" id="{491731A7-2F9F-482E-B6A0-22BAA5DDF62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1355" y="256284"/>
            <a:ext cx="1659793" cy="1152460"/>
          </a:xfrm>
          <a:prstGeom prst="rect">
            <a:avLst/>
          </a:prstGeom>
        </p:spPr>
      </p:pic>
      <p:sp>
        <p:nvSpPr>
          <p:cNvPr id="8" name="Rectangle 7">
            <a:extLst>
              <a:ext uri="{FF2B5EF4-FFF2-40B4-BE49-F238E27FC236}">
                <a16:creationId xmlns:a16="http://schemas.microsoft.com/office/drawing/2014/main" id="{3EB59505-DECF-46E3-9652-48AF5E017DED}"/>
              </a:ext>
            </a:extLst>
          </p:cNvPr>
          <p:cNvSpPr/>
          <p:nvPr userDrawn="1"/>
        </p:nvSpPr>
        <p:spPr>
          <a:xfrm>
            <a:off x="5703580" y="6617406"/>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GB" dirty="0"/>
          </a:p>
        </p:txBody>
      </p:sp>
      <p:cxnSp>
        <p:nvCxnSpPr>
          <p:cNvPr id="12" name="Straight Connector 11">
            <a:extLst>
              <a:ext uri="{FF2B5EF4-FFF2-40B4-BE49-F238E27FC236}">
                <a16:creationId xmlns:a16="http://schemas.microsoft.com/office/drawing/2014/main" id="{D9538D2B-27C1-4DE1-BF1F-BFD993129980}"/>
              </a:ext>
            </a:extLst>
          </p:cNvPr>
          <p:cNvCxnSpPr>
            <a:cxnSpLocks/>
          </p:cNvCxnSpPr>
          <p:nvPr userDrawn="1"/>
        </p:nvCxnSpPr>
        <p:spPr>
          <a:xfrm>
            <a:off x="1875951" y="4549821"/>
            <a:ext cx="8525349"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
        <p:nvSpPr>
          <p:cNvPr id="17" name="TextBox 16">
            <a:extLst>
              <a:ext uri="{FF2B5EF4-FFF2-40B4-BE49-F238E27FC236}">
                <a16:creationId xmlns:a16="http://schemas.microsoft.com/office/drawing/2014/main" id="{8C0DD450-6B7C-4AD5-8CF8-A002529DB4DD}"/>
              </a:ext>
            </a:extLst>
          </p:cNvPr>
          <p:cNvSpPr txBox="1"/>
          <p:nvPr userDrawn="1"/>
        </p:nvSpPr>
        <p:spPr>
          <a:xfrm>
            <a:off x="4217114" y="4698903"/>
            <a:ext cx="3302850" cy="1224566"/>
          </a:xfrm>
          <a:prstGeom prst="rect">
            <a:avLst/>
          </a:prstGeom>
          <a:noFill/>
        </p:spPr>
        <p:txBody>
          <a:bodyPr wrap="square" lIns="0" tIns="0" rIns="91440" bIns="0" rtlCol="0">
            <a:spAutoFit/>
          </a:bodyPr>
          <a:lstStyle/>
          <a:p>
            <a:pPr rtl="0"/>
            <a:r>
              <a:rPr lang="en-GB" sz="1400" b="1" kern="0" dirty="0">
                <a:solidFill>
                  <a:schemeClr val="bg1"/>
                </a:solidFill>
                <a:latin typeface="Verdana" charset="0"/>
                <a:cs typeface="Verdana" charset="0"/>
              </a:rPr>
              <a:t>Digital Europe Programme</a:t>
            </a:r>
            <a:endParaRPr lang="en-GB" sz="200" b="1" kern="0" dirty="0">
              <a:solidFill>
                <a:schemeClr val="bg1"/>
              </a:solidFill>
              <a:latin typeface="Verdana" charset="0"/>
              <a:cs typeface="Verdana" charset="0"/>
            </a:endParaRPr>
          </a:p>
          <a:p>
            <a:pPr rtl="0"/>
            <a:endParaRPr lang="en-GB" sz="200" b="1" kern="0" dirty="0">
              <a:solidFill>
                <a:schemeClr val="bg1"/>
              </a:solidFill>
              <a:latin typeface="Verdana" charset="0"/>
              <a:cs typeface="Verdana" charset="0"/>
            </a:endParaRPr>
          </a:p>
          <a:p>
            <a:pPr rtl="0"/>
            <a:r>
              <a:rPr lang="en-GB" sz="1200" b="1" kern="0" dirty="0">
                <a:solidFill>
                  <a:schemeClr val="bg1"/>
                </a:solidFill>
                <a:latin typeface="Verdana" charset="0"/>
                <a:cs typeface="Verdana" charset="0"/>
              </a:rPr>
              <a:t>Project Officers:</a:t>
            </a:r>
          </a:p>
          <a:p>
            <a:pPr rtl="0"/>
            <a:r>
              <a:rPr lang="en-GB" sz="1200" kern="0" dirty="0">
                <a:solidFill>
                  <a:schemeClr val="bg1"/>
                </a:solidFill>
              </a:rPr>
              <a:t>Bernard CLAES</a:t>
            </a:r>
          </a:p>
          <a:p>
            <a:pPr rtl="0"/>
            <a:r>
              <a:rPr lang="en-GB" sz="1200" kern="0" dirty="0">
                <a:solidFill>
                  <a:schemeClr val="bg1"/>
                </a:solidFill>
              </a:rPr>
              <a:t>Victoria KALOGIROU</a:t>
            </a:r>
          </a:p>
          <a:p>
            <a:pPr rtl="0"/>
            <a:r>
              <a:rPr lang="en-GB" sz="1200" kern="0" dirty="0">
                <a:solidFill>
                  <a:schemeClr val="bg1"/>
                </a:solidFill>
              </a:rPr>
              <a:t>Miguel ALVAREZ RODRIGUEZ</a:t>
            </a:r>
          </a:p>
          <a:p>
            <a:pPr rtl="0">
              <a:lnSpc>
                <a:spcPct val="150000"/>
              </a:lnSpc>
            </a:pPr>
            <a:endParaRPr lang="en-GB" sz="1200" kern="0" dirty="0">
              <a:solidFill>
                <a:schemeClr val="bg1"/>
              </a:solidFill>
              <a:latin typeface="Verdana" charset="0"/>
              <a:cs typeface="Verdana" charset="0"/>
            </a:endParaRPr>
          </a:p>
        </p:txBody>
      </p:sp>
      <p:pic>
        <p:nvPicPr>
          <p:cNvPr id="21" name="Picture 20">
            <a:extLst>
              <a:ext uri="{FF2B5EF4-FFF2-40B4-BE49-F238E27FC236}">
                <a16:creationId xmlns:a16="http://schemas.microsoft.com/office/drawing/2014/main" id="{FC9D1534-BC0D-4B56-B0AE-54747863A18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385146" y="4289313"/>
            <a:ext cx="3290247" cy="1409727"/>
          </a:xfrm>
          <a:prstGeom prst="rect">
            <a:avLst/>
          </a:prstGeom>
        </p:spPr>
      </p:pic>
      <p:pic>
        <p:nvPicPr>
          <p:cNvPr id="22" name="Picture 21">
            <a:extLst>
              <a:ext uri="{FF2B5EF4-FFF2-40B4-BE49-F238E27FC236}">
                <a16:creationId xmlns:a16="http://schemas.microsoft.com/office/drawing/2014/main" id="{8DC9567E-5259-4D30-8B3A-AFDE31BED10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910676" y="4650619"/>
            <a:ext cx="1980241" cy="769026"/>
          </a:xfrm>
          <a:prstGeom prst="rect">
            <a:avLst/>
          </a:prstGeom>
        </p:spPr>
      </p:pic>
      <p:sp>
        <p:nvSpPr>
          <p:cNvPr id="15" name="Title 1">
            <a:extLst>
              <a:ext uri="{FF2B5EF4-FFF2-40B4-BE49-F238E27FC236}">
                <a16:creationId xmlns:a16="http://schemas.microsoft.com/office/drawing/2014/main" id="{DE71796A-1206-41BD-9C55-5C5218743C0F}"/>
              </a:ext>
            </a:extLst>
          </p:cNvPr>
          <p:cNvSpPr>
            <a:spLocks noGrp="1"/>
          </p:cNvSpPr>
          <p:nvPr>
            <p:ph type="ctrTitle"/>
          </p:nvPr>
        </p:nvSpPr>
        <p:spPr>
          <a:xfrm>
            <a:off x="1875951" y="2939443"/>
            <a:ext cx="8525349" cy="1240348"/>
          </a:xfrm>
        </p:spPr>
        <p:txBody>
          <a:bodyPr vert="horz" anchor="b">
            <a:noAutofit/>
          </a:bodyPr>
          <a:lstStyle>
            <a:lvl1pPr algn="l" rtl="0">
              <a:defRPr sz="3200">
                <a:solidFill>
                  <a:schemeClr val="bg1"/>
                </a:solidFill>
              </a:defRPr>
            </a:lvl1pPr>
          </a:lstStyle>
          <a:p>
            <a:r>
              <a:rPr lang="en-GB"/>
              <a:t>Click to edit Master title style</a:t>
            </a:r>
            <a:endParaRPr lang="en-GB" dirty="0"/>
          </a:p>
        </p:txBody>
      </p:sp>
      <p:sp>
        <p:nvSpPr>
          <p:cNvPr id="18" name="Subtitle 2">
            <a:extLst>
              <a:ext uri="{FF2B5EF4-FFF2-40B4-BE49-F238E27FC236}">
                <a16:creationId xmlns:a16="http://schemas.microsoft.com/office/drawing/2014/main" id="{778ADBC9-907D-4079-902F-0FAA724679A6}"/>
              </a:ext>
            </a:extLst>
          </p:cNvPr>
          <p:cNvSpPr>
            <a:spLocks noGrp="1"/>
          </p:cNvSpPr>
          <p:nvPr>
            <p:ph type="subTitle" idx="1" hasCustomPrompt="1"/>
          </p:nvPr>
        </p:nvSpPr>
        <p:spPr>
          <a:xfrm>
            <a:off x="11056216" y="1675023"/>
            <a:ext cx="1103074" cy="659777"/>
          </a:xfrm>
          <a:prstGeom prst="rect">
            <a:avLst/>
          </a:prstGeom>
        </p:spPr>
        <p:txBody>
          <a:bodyPr>
            <a:noAutofit/>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March</a:t>
            </a:r>
          </a:p>
          <a:p>
            <a:r>
              <a:rPr lang="en-GB"/>
              <a:t>2022</a:t>
            </a:r>
            <a:endParaRPr lang="en-GB" dirty="0"/>
          </a:p>
        </p:txBody>
      </p:sp>
      <p:sp>
        <p:nvSpPr>
          <p:cNvPr id="23" name="Text Placeholder 2">
            <a:extLst>
              <a:ext uri="{FF2B5EF4-FFF2-40B4-BE49-F238E27FC236}">
                <a16:creationId xmlns:a16="http://schemas.microsoft.com/office/drawing/2014/main" id="{9B99E03A-052C-48F8-92E4-217AE1F44ECC}"/>
              </a:ext>
            </a:extLst>
          </p:cNvPr>
          <p:cNvSpPr>
            <a:spLocks noGrp="1"/>
          </p:cNvSpPr>
          <p:nvPr>
            <p:ph idx="10" hasCustomPrompt="1"/>
          </p:nvPr>
        </p:nvSpPr>
        <p:spPr>
          <a:xfrm>
            <a:off x="9519516" y="1170052"/>
            <a:ext cx="1503990" cy="1240345"/>
          </a:xfrm>
          <a:prstGeom prst="rect">
            <a:avLst/>
          </a:prstGeom>
        </p:spPr>
        <p:txBody>
          <a:bodyPr vert="horz" lIns="91440" tIns="45720" rIns="91440" bIns="45720" rtlCol="0">
            <a:normAutofit/>
          </a:bodyPr>
          <a:lstStyle>
            <a:lvl1pPr marL="0" indent="0" rtl="0">
              <a:buNone/>
              <a:defRPr sz="9600">
                <a:solidFill>
                  <a:schemeClr val="bg1"/>
                </a:solidFill>
              </a:defRPr>
            </a:lvl1pPr>
          </a:lstStyle>
          <a:p>
            <a:pPr lvl="0"/>
            <a:r>
              <a:rPr lang="en-GB"/>
              <a:t>00</a:t>
            </a:r>
            <a:endParaRPr lang="en-GB" dirty="0"/>
          </a:p>
        </p:txBody>
      </p:sp>
    </p:spTree>
    <p:extLst>
      <p:ext uri="{BB962C8B-B14F-4D97-AF65-F5344CB8AC3E}">
        <p14:creationId xmlns:p14="http://schemas.microsoft.com/office/powerpoint/2010/main" val="173953264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63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0AC517-B2A7-42EB-86A9-7B4FD4D3E8C9}"/>
              </a:ext>
            </a:extLst>
          </p:cNvPr>
          <p:cNvGraphicFramePr>
            <a:graphicFrameLocks noChangeAspect="1"/>
          </p:cNvGraphicFramePr>
          <p:nvPr userDrawn="1">
            <p:custDataLst>
              <p:tags r:id="rId1"/>
            </p:custDataLst>
            <p:extLst>
              <p:ext uri="{D42A27DB-BD31-4B8C-83A1-F6EECF244321}">
                <p14:modId xmlns:p14="http://schemas.microsoft.com/office/powerpoint/2010/main" val="3000075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D30AC517-B2A7-42EB-86A9-7B4FD4D3E8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2"/>
          <p:cNvSpPr>
            <a:spLocks noGrp="1"/>
          </p:cNvSpPr>
          <p:nvPr>
            <p:ph type="pic" sz="quarter" idx="15" hasCustomPrompt="1"/>
          </p:nvPr>
        </p:nvSpPr>
        <p:spPr>
          <a:xfrm>
            <a:off x="0" y="0"/>
            <a:ext cx="6096000" cy="6858000"/>
          </a:xfrm>
          <a:prstGeom prst="rect">
            <a:avLst/>
          </a:prstGeom>
          <a:pattFill prst="pct10">
            <a:fgClr>
              <a:schemeClr val="tx1"/>
            </a:fgClr>
            <a:bgClr>
              <a:schemeClr val="bg1"/>
            </a:bgClr>
          </a:pattFill>
        </p:spPr>
        <p:txBody>
          <a:bodyPr anchor="ct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3" name="Picture Placeholder 2"/>
          <p:cNvSpPr>
            <a:spLocks noGrp="1"/>
          </p:cNvSpPr>
          <p:nvPr>
            <p:ph type="pic" sz="quarter" idx="16" hasCustomPrompt="1"/>
          </p:nvPr>
        </p:nvSpPr>
        <p:spPr>
          <a:xfrm>
            <a:off x="7304184" y="1717589"/>
            <a:ext cx="3097116" cy="3422822"/>
          </a:xfrm>
          <a:prstGeom prst="rect">
            <a:avLst/>
          </a:prstGeom>
          <a:pattFill prst="pct10">
            <a:fgClr>
              <a:schemeClr val="tx1"/>
            </a:fgClr>
            <a:bgClr>
              <a:schemeClr val="bg1"/>
            </a:bgClr>
          </a:pattFill>
        </p:spPr>
        <p:txBody>
          <a:bodyPr anchor="ct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Tree>
    <p:extLst>
      <p:ext uri="{BB962C8B-B14F-4D97-AF65-F5344CB8AC3E}">
        <p14:creationId xmlns:p14="http://schemas.microsoft.com/office/powerpoint/2010/main" val="2134029401"/>
      </p:ext>
    </p:extLst>
  </p:cSld>
  <p:clrMapOvr>
    <a:masterClrMapping/>
  </p:clrMapOvr>
  <p:extLst>
    <p:ext uri="{DCECCB84-F9BA-43D5-87BE-67443E8EF086}">
      <p15:sldGuideLst xmlns:p15="http://schemas.microsoft.com/office/powerpoint/2012/main">
        <p15:guide id="1" orient="horz" pos="2160">
          <p15:clr>
            <a:srgbClr val="FBAE40"/>
          </p15:clr>
        </p15:guide>
        <p15:guide id="2" pos="432">
          <p15:clr>
            <a:srgbClr val="FBAE40"/>
          </p15:clr>
        </p15:guide>
        <p15:guide id="3" pos="7248">
          <p15:clr>
            <a:srgbClr val="FBAE40"/>
          </p15:clr>
        </p15:guide>
        <p15:guide id="4" orient="horz" pos="432">
          <p15:clr>
            <a:srgbClr val="FBAE40"/>
          </p15:clr>
        </p15:guide>
        <p15:guide id="5" orient="horz" pos="3888">
          <p15:clr>
            <a:srgbClr val="FBAE40"/>
          </p15:clr>
        </p15:guide>
        <p15:guide id="6" pos="3840">
          <p15:clr>
            <a:srgbClr val="FBAE40"/>
          </p15:clr>
        </p15:guide>
        <p15:guide id="7" pos="1128">
          <p15:clr>
            <a:srgbClr val="FBAE40"/>
          </p15:clr>
        </p15:guide>
        <p15:guide id="8" pos="6552">
          <p15:clr>
            <a:srgbClr val="FBAE40"/>
          </p15:clr>
        </p15:guide>
        <p15:guide id="9" orient="horz" pos="194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2_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6FA44F-3094-4B62-9903-AC36127FAF9A}"/>
              </a:ext>
            </a:extLst>
          </p:cNvPr>
          <p:cNvGraphicFramePr>
            <a:graphicFrameLocks noChangeAspect="1"/>
          </p:cNvGraphicFramePr>
          <p:nvPr userDrawn="1">
            <p:custDataLst>
              <p:tags r:id="rId1"/>
            </p:custDataLst>
            <p:extLst>
              <p:ext uri="{D42A27DB-BD31-4B8C-83A1-F6EECF244321}">
                <p14:modId xmlns:p14="http://schemas.microsoft.com/office/powerpoint/2010/main" val="12424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826FA44F-3094-4B62-9903-AC36127FAF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Picture Placeholder 3"/>
          <p:cNvSpPr>
            <a:spLocks noGrp="1"/>
          </p:cNvSpPr>
          <p:nvPr>
            <p:ph type="pic" sz="quarter" idx="16" hasCustomPrompt="1"/>
          </p:nvPr>
        </p:nvSpPr>
        <p:spPr>
          <a:xfrm>
            <a:off x="6096000" y="0"/>
            <a:ext cx="6096000" cy="6857999"/>
          </a:xfrm>
          <a:prstGeom prst="rect">
            <a:avLst/>
          </a:pr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3" name="Text Placeholder 5">
            <a:extLst>
              <a:ext uri="{FF2B5EF4-FFF2-40B4-BE49-F238E27FC236}">
                <a16:creationId xmlns:a16="http://schemas.microsoft.com/office/drawing/2014/main" id="{012ACA0A-5E19-4E1E-A112-7D977EA22B9B}"/>
              </a:ext>
            </a:extLst>
          </p:cNvPr>
          <p:cNvSpPr>
            <a:spLocks noGrp="1"/>
          </p:cNvSpPr>
          <p:nvPr>
            <p:ph type="body" sz="quarter" idx="17" hasCustomPrompt="1"/>
          </p:nvPr>
        </p:nvSpPr>
        <p:spPr>
          <a:xfrm>
            <a:off x="501549" y="1928683"/>
            <a:ext cx="5213451" cy="3986213"/>
          </a:xfrm>
          <a:prstGeom prst="rect">
            <a:avLst/>
          </a:prstGeom>
        </p:spPr>
        <p:txBody>
          <a:bodyPr/>
          <a:lstStyle>
            <a:lvl1pPr rtl="0">
              <a:defRPr/>
            </a:lvl1pPr>
            <a:lvl2pPr rtl="0">
              <a:defRPr/>
            </a:lvl2pPr>
            <a:lvl3pPr rtl="0">
              <a:defRPr/>
            </a:lvl3pPr>
            <a:lvl4pPr rtl="0">
              <a:defRPr/>
            </a:lvl4pPr>
            <a:lvl5pPr rtl="0">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itle 64">
            <a:extLst>
              <a:ext uri="{FF2B5EF4-FFF2-40B4-BE49-F238E27FC236}">
                <a16:creationId xmlns:a16="http://schemas.microsoft.com/office/drawing/2014/main" id="{8C2CE0D6-7A53-4201-B7EB-9FEF5F43210B}"/>
              </a:ext>
            </a:extLst>
          </p:cNvPr>
          <p:cNvSpPr>
            <a:spLocks noGrp="1"/>
          </p:cNvSpPr>
          <p:nvPr>
            <p:ph type="title"/>
          </p:nvPr>
        </p:nvSpPr>
        <p:spPr>
          <a:xfrm>
            <a:off x="501549" y="714116"/>
            <a:ext cx="5213451" cy="471747"/>
          </a:xfrm>
          <a:prstGeom prst="rect">
            <a:avLst/>
          </a:prstGeom>
        </p:spPr>
        <p:txBody>
          <a:bodyPr vert="horz"/>
          <a:lstStyle>
            <a:lvl1pPr algn="l" rtl="0">
              <a:defRPr sz="32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Click to edit Master title style</a:t>
            </a:r>
            <a:endParaRPr lang="en-GB" dirty="0"/>
          </a:p>
        </p:txBody>
      </p:sp>
    </p:spTree>
    <p:extLst>
      <p:ext uri="{BB962C8B-B14F-4D97-AF65-F5344CB8AC3E}">
        <p14:creationId xmlns:p14="http://schemas.microsoft.com/office/powerpoint/2010/main" val="21964162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9DC6D99-B03D-4802-8EA3-1A189C024D1E}"/>
              </a:ext>
            </a:extLst>
          </p:cNvPr>
          <p:cNvGraphicFramePr>
            <a:graphicFrameLocks noChangeAspect="1"/>
          </p:cNvGraphicFramePr>
          <p:nvPr userDrawn="1">
            <p:custDataLst>
              <p:tags r:id="rId1"/>
            </p:custDataLst>
            <p:extLst>
              <p:ext uri="{D42A27DB-BD31-4B8C-83A1-F6EECF244321}">
                <p14:modId xmlns:p14="http://schemas.microsoft.com/office/powerpoint/2010/main" val="1492237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09DC6D99-B03D-4802-8EA3-1A189C024D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9">
            <a:extLst>
              <a:ext uri="{FF2B5EF4-FFF2-40B4-BE49-F238E27FC236}">
                <a16:creationId xmlns:a16="http://schemas.microsoft.com/office/drawing/2014/main" id="{B2558F28-130F-4304-8AC5-2148BABAB0CA}"/>
              </a:ext>
            </a:extLst>
          </p:cNvPr>
          <p:cNvSpPr>
            <a:spLocks noGrp="1"/>
          </p:cNvSpPr>
          <p:nvPr>
            <p:ph type="pic" sz="quarter" idx="17" hasCustomPrompt="1"/>
          </p:nvPr>
        </p:nvSpPr>
        <p:spPr>
          <a:xfrm>
            <a:off x="5233912" y="2330460"/>
            <a:ext cx="1724177" cy="1866004"/>
          </a:xfrm>
          <a:custGeom>
            <a:avLst/>
            <a:gdLst>
              <a:gd name="connsiteX0" fmla="*/ 647700 w 1295400"/>
              <a:gd name="connsiteY0" fmla="*/ 156700 h 1401956"/>
              <a:gd name="connsiteX1" fmla="*/ 535431 w 1295400"/>
              <a:gd name="connsiteY1" fmla="*/ 183516 h 1401956"/>
              <a:gd name="connsiteX2" fmla="*/ 257107 w 1295400"/>
              <a:gd name="connsiteY2" fmla="*/ 344717 h 1401956"/>
              <a:gd name="connsiteX3" fmla="*/ 144790 w 1295400"/>
              <a:gd name="connsiteY3" fmla="*/ 539469 h 1401956"/>
              <a:gd name="connsiteX4" fmla="*/ 144790 w 1295400"/>
              <a:gd name="connsiteY4" fmla="*/ 862487 h 1401956"/>
              <a:gd name="connsiteX5" fmla="*/ 257107 w 1295400"/>
              <a:gd name="connsiteY5" fmla="*/ 1057239 h 1401956"/>
              <a:gd name="connsiteX6" fmla="*/ 535431 w 1295400"/>
              <a:gd name="connsiteY6" fmla="*/ 1218441 h 1401956"/>
              <a:gd name="connsiteX7" fmla="*/ 759970 w 1295400"/>
              <a:gd name="connsiteY7" fmla="*/ 1218441 h 1401956"/>
              <a:gd name="connsiteX8" fmla="*/ 1038294 w 1295400"/>
              <a:gd name="connsiteY8" fmla="*/ 1057239 h 1401956"/>
              <a:gd name="connsiteX9" fmla="*/ 1150610 w 1295400"/>
              <a:gd name="connsiteY9" fmla="*/ 862487 h 1401956"/>
              <a:gd name="connsiteX10" fmla="*/ 1150610 w 1295400"/>
              <a:gd name="connsiteY10" fmla="*/ 539469 h 1401956"/>
              <a:gd name="connsiteX11" fmla="*/ 1038294 w 1295400"/>
              <a:gd name="connsiteY11" fmla="*/ 344717 h 1401956"/>
              <a:gd name="connsiteX12" fmla="*/ 759970 w 1295400"/>
              <a:gd name="connsiteY12" fmla="*/ 183516 h 1401956"/>
              <a:gd name="connsiteX13" fmla="*/ 647700 w 1295400"/>
              <a:gd name="connsiteY13" fmla="*/ 156700 h 1401956"/>
              <a:gd name="connsiteX14" fmla="*/ 647700 w 1295400"/>
              <a:gd name="connsiteY14" fmla="*/ 0 h 1401956"/>
              <a:gd name="connsiteX15" fmla="*/ 792293 w 1295400"/>
              <a:gd name="connsiteY15" fmla="*/ 34536 h 1401956"/>
              <a:gd name="connsiteX16" fmla="*/ 1150747 w 1295400"/>
              <a:gd name="connsiteY16" fmla="*/ 242148 h 1401956"/>
              <a:gd name="connsiteX17" fmla="*/ 1295400 w 1295400"/>
              <a:gd name="connsiteY17" fmla="*/ 492970 h 1401956"/>
              <a:gd name="connsiteX18" fmla="*/ 1295400 w 1295400"/>
              <a:gd name="connsiteY18" fmla="*/ 908986 h 1401956"/>
              <a:gd name="connsiteX19" fmla="*/ 1150747 w 1295400"/>
              <a:gd name="connsiteY19" fmla="*/ 1159808 h 1401956"/>
              <a:gd name="connsiteX20" fmla="*/ 792293 w 1295400"/>
              <a:gd name="connsiteY20" fmla="*/ 1367420 h 1401956"/>
              <a:gd name="connsiteX21" fmla="*/ 503108 w 1295400"/>
              <a:gd name="connsiteY21" fmla="*/ 1367420 h 1401956"/>
              <a:gd name="connsiteX22" fmla="*/ 144653 w 1295400"/>
              <a:gd name="connsiteY22" fmla="*/ 1159808 h 1401956"/>
              <a:gd name="connsiteX23" fmla="*/ 0 w 1295400"/>
              <a:gd name="connsiteY23" fmla="*/ 908986 h 1401956"/>
              <a:gd name="connsiteX24" fmla="*/ 0 w 1295400"/>
              <a:gd name="connsiteY24" fmla="*/ 492970 h 1401956"/>
              <a:gd name="connsiteX25" fmla="*/ 144653 w 1295400"/>
              <a:gd name="connsiteY25" fmla="*/ 242148 h 1401956"/>
              <a:gd name="connsiteX26" fmla="*/ 503108 w 1295400"/>
              <a:gd name="connsiteY26" fmla="*/ 34536 h 1401956"/>
              <a:gd name="connsiteX27" fmla="*/ 647700 w 1295400"/>
              <a:gd name="connsiteY27" fmla="*/ 0 h 140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5400" h="1401956">
                <a:moveTo>
                  <a:pt x="647700" y="156700"/>
                </a:moveTo>
                <a:cubicBezTo>
                  <a:pt x="607002" y="156700"/>
                  <a:pt x="566304" y="165639"/>
                  <a:pt x="535431" y="183516"/>
                </a:cubicBezTo>
                <a:lnTo>
                  <a:pt x="257107" y="344717"/>
                </a:lnTo>
                <a:cubicBezTo>
                  <a:pt x="195314" y="380471"/>
                  <a:pt x="144790" y="468115"/>
                  <a:pt x="144790" y="539469"/>
                </a:cubicBezTo>
                <a:lnTo>
                  <a:pt x="144790" y="862487"/>
                </a:lnTo>
                <a:cubicBezTo>
                  <a:pt x="144790" y="933841"/>
                  <a:pt x="195314" y="1021485"/>
                  <a:pt x="257107" y="1057239"/>
                </a:cubicBezTo>
                <a:lnTo>
                  <a:pt x="535431" y="1218441"/>
                </a:lnTo>
                <a:cubicBezTo>
                  <a:pt x="597177" y="1254195"/>
                  <a:pt x="698224" y="1254195"/>
                  <a:pt x="759970" y="1218441"/>
                </a:cubicBezTo>
                <a:lnTo>
                  <a:pt x="1038294" y="1057239"/>
                </a:lnTo>
                <a:cubicBezTo>
                  <a:pt x="1100087" y="1021485"/>
                  <a:pt x="1150610" y="933841"/>
                  <a:pt x="1150610" y="862487"/>
                </a:cubicBezTo>
                <a:lnTo>
                  <a:pt x="1150610" y="539469"/>
                </a:lnTo>
                <a:cubicBezTo>
                  <a:pt x="1150610" y="468115"/>
                  <a:pt x="1100087" y="380471"/>
                  <a:pt x="1038294" y="344717"/>
                </a:cubicBezTo>
                <a:lnTo>
                  <a:pt x="759970" y="183516"/>
                </a:lnTo>
                <a:cubicBezTo>
                  <a:pt x="729097" y="165639"/>
                  <a:pt x="688399" y="156700"/>
                  <a:pt x="647700" y="156700"/>
                </a:cubicBezTo>
                <a:close/>
                <a:moveTo>
                  <a:pt x="647700" y="0"/>
                </a:moveTo>
                <a:cubicBezTo>
                  <a:pt x="700116" y="0"/>
                  <a:pt x="752532" y="11512"/>
                  <a:pt x="792293" y="34536"/>
                </a:cubicBezTo>
                <a:lnTo>
                  <a:pt x="1150747" y="242148"/>
                </a:lnTo>
                <a:cubicBezTo>
                  <a:pt x="1230331" y="288196"/>
                  <a:pt x="1295400" y="401072"/>
                  <a:pt x="1295400" y="492970"/>
                </a:cubicBezTo>
                <a:lnTo>
                  <a:pt x="1295400" y="908986"/>
                </a:lnTo>
                <a:cubicBezTo>
                  <a:pt x="1295400" y="1000884"/>
                  <a:pt x="1230331" y="1113760"/>
                  <a:pt x="1150747" y="1159808"/>
                </a:cubicBezTo>
                <a:lnTo>
                  <a:pt x="792293" y="1367420"/>
                </a:lnTo>
                <a:cubicBezTo>
                  <a:pt x="712770" y="1413468"/>
                  <a:pt x="582631" y="1413468"/>
                  <a:pt x="503108" y="1367420"/>
                </a:cubicBezTo>
                <a:lnTo>
                  <a:pt x="144653" y="1159808"/>
                </a:lnTo>
                <a:cubicBezTo>
                  <a:pt x="65070" y="1113760"/>
                  <a:pt x="0" y="1000884"/>
                  <a:pt x="0" y="908986"/>
                </a:cubicBezTo>
                <a:lnTo>
                  <a:pt x="0" y="492970"/>
                </a:lnTo>
                <a:cubicBezTo>
                  <a:pt x="0" y="401072"/>
                  <a:pt x="65070" y="288196"/>
                  <a:pt x="144653" y="242148"/>
                </a:cubicBezTo>
                <a:lnTo>
                  <a:pt x="503108" y="34536"/>
                </a:lnTo>
                <a:cubicBezTo>
                  <a:pt x="542869" y="11512"/>
                  <a:pt x="595285" y="0"/>
                  <a:pt x="647700"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cxnSp>
        <p:nvCxnSpPr>
          <p:cNvPr id="4" name="Straight Connector 3">
            <a:extLst>
              <a:ext uri="{FF2B5EF4-FFF2-40B4-BE49-F238E27FC236}">
                <a16:creationId xmlns:a16="http://schemas.microsoft.com/office/drawing/2014/main" id="{A83F1D52-17E1-4FBD-AACB-1A736BB402A5}"/>
              </a:ext>
            </a:extLst>
          </p:cNvPr>
          <p:cNvCxnSpPr>
            <a:cxnSpLocks/>
          </p:cNvCxnSpPr>
          <p:nvPr userDrawn="1"/>
        </p:nvCxnSpPr>
        <p:spPr>
          <a:xfrm flipH="1">
            <a:off x="6085490" y="-129092"/>
            <a:ext cx="10510" cy="2241671"/>
          </a:xfrm>
          <a:prstGeom prst="line">
            <a:avLst/>
          </a:prstGeom>
          <a:ln w="6350">
            <a:solidFill>
              <a:schemeClr val="tx1">
                <a:alpha val="20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1488A225-B437-460C-B6B2-EDE96D2C96F5}"/>
              </a:ext>
            </a:extLst>
          </p:cNvPr>
          <p:cNvCxnSpPr>
            <a:cxnSpLocks/>
          </p:cNvCxnSpPr>
          <p:nvPr userDrawn="1"/>
        </p:nvCxnSpPr>
        <p:spPr>
          <a:xfrm>
            <a:off x="6085490" y="4414345"/>
            <a:ext cx="10510" cy="2621157"/>
          </a:xfrm>
          <a:prstGeom prst="line">
            <a:avLst/>
          </a:prstGeom>
          <a:ln w="6350">
            <a:solidFill>
              <a:schemeClr val="tx1">
                <a:alpha val="20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4611705"/>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6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619AC90-5390-45C3-8C8F-70A4E4701A47}"/>
              </a:ext>
            </a:extLst>
          </p:cNvPr>
          <p:cNvGraphicFramePr>
            <a:graphicFrameLocks noChangeAspect="1"/>
          </p:cNvGraphicFramePr>
          <p:nvPr userDrawn="1">
            <p:custDataLst>
              <p:tags r:id="rId1"/>
            </p:custDataLst>
            <p:extLst>
              <p:ext uri="{D42A27DB-BD31-4B8C-83A1-F6EECF244321}">
                <p14:modId xmlns:p14="http://schemas.microsoft.com/office/powerpoint/2010/main" val="2834261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A619AC90-5390-45C3-8C8F-70A4E4701A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p:cNvSpPr>
            <a:spLocks noGrp="1"/>
          </p:cNvSpPr>
          <p:nvPr>
            <p:ph type="pic" sz="quarter" idx="15" hasCustomPrompt="1"/>
          </p:nvPr>
        </p:nvSpPr>
        <p:spPr>
          <a:xfrm>
            <a:off x="5437790" y="1263464"/>
            <a:ext cx="1295400" cy="1401956"/>
          </a:xfrm>
          <a:custGeom>
            <a:avLst/>
            <a:gdLst>
              <a:gd name="connsiteX0" fmla="*/ 647700 w 1295400"/>
              <a:gd name="connsiteY0" fmla="*/ 156700 h 1401956"/>
              <a:gd name="connsiteX1" fmla="*/ 535431 w 1295400"/>
              <a:gd name="connsiteY1" fmla="*/ 183516 h 1401956"/>
              <a:gd name="connsiteX2" fmla="*/ 257107 w 1295400"/>
              <a:gd name="connsiteY2" fmla="*/ 344717 h 1401956"/>
              <a:gd name="connsiteX3" fmla="*/ 144790 w 1295400"/>
              <a:gd name="connsiteY3" fmla="*/ 539469 h 1401956"/>
              <a:gd name="connsiteX4" fmla="*/ 144790 w 1295400"/>
              <a:gd name="connsiteY4" fmla="*/ 862487 h 1401956"/>
              <a:gd name="connsiteX5" fmla="*/ 257107 w 1295400"/>
              <a:gd name="connsiteY5" fmla="*/ 1057239 h 1401956"/>
              <a:gd name="connsiteX6" fmla="*/ 535431 w 1295400"/>
              <a:gd name="connsiteY6" fmla="*/ 1218441 h 1401956"/>
              <a:gd name="connsiteX7" fmla="*/ 759970 w 1295400"/>
              <a:gd name="connsiteY7" fmla="*/ 1218441 h 1401956"/>
              <a:gd name="connsiteX8" fmla="*/ 1038294 w 1295400"/>
              <a:gd name="connsiteY8" fmla="*/ 1057239 h 1401956"/>
              <a:gd name="connsiteX9" fmla="*/ 1150610 w 1295400"/>
              <a:gd name="connsiteY9" fmla="*/ 862487 h 1401956"/>
              <a:gd name="connsiteX10" fmla="*/ 1150610 w 1295400"/>
              <a:gd name="connsiteY10" fmla="*/ 539469 h 1401956"/>
              <a:gd name="connsiteX11" fmla="*/ 1038294 w 1295400"/>
              <a:gd name="connsiteY11" fmla="*/ 344717 h 1401956"/>
              <a:gd name="connsiteX12" fmla="*/ 759970 w 1295400"/>
              <a:gd name="connsiteY12" fmla="*/ 183516 h 1401956"/>
              <a:gd name="connsiteX13" fmla="*/ 647700 w 1295400"/>
              <a:gd name="connsiteY13" fmla="*/ 156700 h 1401956"/>
              <a:gd name="connsiteX14" fmla="*/ 647700 w 1295400"/>
              <a:gd name="connsiteY14" fmla="*/ 0 h 1401956"/>
              <a:gd name="connsiteX15" fmla="*/ 792293 w 1295400"/>
              <a:gd name="connsiteY15" fmla="*/ 34536 h 1401956"/>
              <a:gd name="connsiteX16" fmla="*/ 1150747 w 1295400"/>
              <a:gd name="connsiteY16" fmla="*/ 242148 h 1401956"/>
              <a:gd name="connsiteX17" fmla="*/ 1295400 w 1295400"/>
              <a:gd name="connsiteY17" fmla="*/ 492970 h 1401956"/>
              <a:gd name="connsiteX18" fmla="*/ 1295400 w 1295400"/>
              <a:gd name="connsiteY18" fmla="*/ 908986 h 1401956"/>
              <a:gd name="connsiteX19" fmla="*/ 1150747 w 1295400"/>
              <a:gd name="connsiteY19" fmla="*/ 1159808 h 1401956"/>
              <a:gd name="connsiteX20" fmla="*/ 792293 w 1295400"/>
              <a:gd name="connsiteY20" fmla="*/ 1367420 h 1401956"/>
              <a:gd name="connsiteX21" fmla="*/ 503108 w 1295400"/>
              <a:gd name="connsiteY21" fmla="*/ 1367420 h 1401956"/>
              <a:gd name="connsiteX22" fmla="*/ 144653 w 1295400"/>
              <a:gd name="connsiteY22" fmla="*/ 1159808 h 1401956"/>
              <a:gd name="connsiteX23" fmla="*/ 0 w 1295400"/>
              <a:gd name="connsiteY23" fmla="*/ 908986 h 1401956"/>
              <a:gd name="connsiteX24" fmla="*/ 0 w 1295400"/>
              <a:gd name="connsiteY24" fmla="*/ 492970 h 1401956"/>
              <a:gd name="connsiteX25" fmla="*/ 144653 w 1295400"/>
              <a:gd name="connsiteY25" fmla="*/ 242148 h 1401956"/>
              <a:gd name="connsiteX26" fmla="*/ 503108 w 1295400"/>
              <a:gd name="connsiteY26" fmla="*/ 34536 h 1401956"/>
              <a:gd name="connsiteX27" fmla="*/ 647700 w 1295400"/>
              <a:gd name="connsiteY27" fmla="*/ 0 h 140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5400" h="1401956">
                <a:moveTo>
                  <a:pt x="647700" y="156700"/>
                </a:moveTo>
                <a:cubicBezTo>
                  <a:pt x="607002" y="156700"/>
                  <a:pt x="566304" y="165639"/>
                  <a:pt x="535431" y="183516"/>
                </a:cubicBezTo>
                <a:lnTo>
                  <a:pt x="257107" y="344717"/>
                </a:lnTo>
                <a:cubicBezTo>
                  <a:pt x="195314" y="380471"/>
                  <a:pt x="144790" y="468115"/>
                  <a:pt x="144790" y="539469"/>
                </a:cubicBezTo>
                <a:lnTo>
                  <a:pt x="144790" y="862487"/>
                </a:lnTo>
                <a:cubicBezTo>
                  <a:pt x="144790" y="933841"/>
                  <a:pt x="195314" y="1021485"/>
                  <a:pt x="257107" y="1057239"/>
                </a:cubicBezTo>
                <a:lnTo>
                  <a:pt x="535431" y="1218441"/>
                </a:lnTo>
                <a:cubicBezTo>
                  <a:pt x="597177" y="1254195"/>
                  <a:pt x="698224" y="1254195"/>
                  <a:pt x="759970" y="1218441"/>
                </a:cubicBezTo>
                <a:lnTo>
                  <a:pt x="1038294" y="1057239"/>
                </a:lnTo>
                <a:cubicBezTo>
                  <a:pt x="1100087" y="1021485"/>
                  <a:pt x="1150610" y="933841"/>
                  <a:pt x="1150610" y="862487"/>
                </a:cubicBezTo>
                <a:lnTo>
                  <a:pt x="1150610" y="539469"/>
                </a:lnTo>
                <a:cubicBezTo>
                  <a:pt x="1150610" y="468115"/>
                  <a:pt x="1100087" y="380471"/>
                  <a:pt x="1038294" y="344717"/>
                </a:cubicBezTo>
                <a:lnTo>
                  <a:pt x="759970" y="183516"/>
                </a:lnTo>
                <a:cubicBezTo>
                  <a:pt x="729097" y="165639"/>
                  <a:pt x="688399" y="156700"/>
                  <a:pt x="647700" y="156700"/>
                </a:cubicBezTo>
                <a:close/>
                <a:moveTo>
                  <a:pt x="647700" y="0"/>
                </a:moveTo>
                <a:cubicBezTo>
                  <a:pt x="700116" y="0"/>
                  <a:pt x="752532" y="11512"/>
                  <a:pt x="792293" y="34536"/>
                </a:cubicBezTo>
                <a:lnTo>
                  <a:pt x="1150747" y="242148"/>
                </a:lnTo>
                <a:cubicBezTo>
                  <a:pt x="1230331" y="288196"/>
                  <a:pt x="1295400" y="401072"/>
                  <a:pt x="1295400" y="492970"/>
                </a:cubicBezTo>
                <a:lnTo>
                  <a:pt x="1295400" y="908986"/>
                </a:lnTo>
                <a:cubicBezTo>
                  <a:pt x="1295400" y="1000884"/>
                  <a:pt x="1230331" y="1113760"/>
                  <a:pt x="1150747" y="1159808"/>
                </a:cubicBezTo>
                <a:lnTo>
                  <a:pt x="792293" y="1367420"/>
                </a:lnTo>
                <a:cubicBezTo>
                  <a:pt x="712770" y="1413468"/>
                  <a:pt x="582631" y="1413468"/>
                  <a:pt x="503108" y="1367420"/>
                </a:cubicBezTo>
                <a:lnTo>
                  <a:pt x="144653" y="1159808"/>
                </a:lnTo>
                <a:cubicBezTo>
                  <a:pt x="65070" y="1113760"/>
                  <a:pt x="0" y="1000884"/>
                  <a:pt x="0" y="908986"/>
                </a:cubicBezTo>
                <a:lnTo>
                  <a:pt x="0" y="492970"/>
                </a:lnTo>
                <a:cubicBezTo>
                  <a:pt x="0" y="401072"/>
                  <a:pt x="65070" y="288196"/>
                  <a:pt x="144653" y="242148"/>
                </a:cubicBezTo>
                <a:lnTo>
                  <a:pt x="503108" y="34536"/>
                </a:lnTo>
                <a:cubicBezTo>
                  <a:pt x="542869" y="11512"/>
                  <a:pt x="595285" y="0"/>
                  <a:pt x="647700"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10" name="Picture Placeholder 9"/>
          <p:cNvSpPr>
            <a:spLocks noGrp="1"/>
          </p:cNvSpPr>
          <p:nvPr>
            <p:ph type="pic" sz="quarter" idx="17" hasCustomPrompt="1"/>
          </p:nvPr>
        </p:nvSpPr>
        <p:spPr>
          <a:xfrm>
            <a:off x="5448300" y="3905768"/>
            <a:ext cx="1295400" cy="1401956"/>
          </a:xfrm>
          <a:custGeom>
            <a:avLst/>
            <a:gdLst>
              <a:gd name="connsiteX0" fmla="*/ 647700 w 1295400"/>
              <a:gd name="connsiteY0" fmla="*/ 156700 h 1401956"/>
              <a:gd name="connsiteX1" fmla="*/ 535431 w 1295400"/>
              <a:gd name="connsiteY1" fmla="*/ 183516 h 1401956"/>
              <a:gd name="connsiteX2" fmla="*/ 257107 w 1295400"/>
              <a:gd name="connsiteY2" fmla="*/ 344717 h 1401956"/>
              <a:gd name="connsiteX3" fmla="*/ 144790 w 1295400"/>
              <a:gd name="connsiteY3" fmla="*/ 539469 h 1401956"/>
              <a:gd name="connsiteX4" fmla="*/ 144790 w 1295400"/>
              <a:gd name="connsiteY4" fmla="*/ 862487 h 1401956"/>
              <a:gd name="connsiteX5" fmla="*/ 257107 w 1295400"/>
              <a:gd name="connsiteY5" fmla="*/ 1057239 h 1401956"/>
              <a:gd name="connsiteX6" fmla="*/ 535431 w 1295400"/>
              <a:gd name="connsiteY6" fmla="*/ 1218441 h 1401956"/>
              <a:gd name="connsiteX7" fmla="*/ 759970 w 1295400"/>
              <a:gd name="connsiteY7" fmla="*/ 1218441 h 1401956"/>
              <a:gd name="connsiteX8" fmla="*/ 1038294 w 1295400"/>
              <a:gd name="connsiteY8" fmla="*/ 1057239 h 1401956"/>
              <a:gd name="connsiteX9" fmla="*/ 1150610 w 1295400"/>
              <a:gd name="connsiteY9" fmla="*/ 862487 h 1401956"/>
              <a:gd name="connsiteX10" fmla="*/ 1150610 w 1295400"/>
              <a:gd name="connsiteY10" fmla="*/ 539469 h 1401956"/>
              <a:gd name="connsiteX11" fmla="*/ 1038294 w 1295400"/>
              <a:gd name="connsiteY11" fmla="*/ 344717 h 1401956"/>
              <a:gd name="connsiteX12" fmla="*/ 759970 w 1295400"/>
              <a:gd name="connsiteY12" fmla="*/ 183516 h 1401956"/>
              <a:gd name="connsiteX13" fmla="*/ 647700 w 1295400"/>
              <a:gd name="connsiteY13" fmla="*/ 156700 h 1401956"/>
              <a:gd name="connsiteX14" fmla="*/ 647700 w 1295400"/>
              <a:gd name="connsiteY14" fmla="*/ 0 h 1401956"/>
              <a:gd name="connsiteX15" fmla="*/ 792293 w 1295400"/>
              <a:gd name="connsiteY15" fmla="*/ 34536 h 1401956"/>
              <a:gd name="connsiteX16" fmla="*/ 1150747 w 1295400"/>
              <a:gd name="connsiteY16" fmla="*/ 242148 h 1401956"/>
              <a:gd name="connsiteX17" fmla="*/ 1295400 w 1295400"/>
              <a:gd name="connsiteY17" fmla="*/ 492970 h 1401956"/>
              <a:gd name="connsiteX18" fmla="*/ 1295400 w 1295400"/>
              <a:gd name="connsiteY18" fmla="*/ 908986 h 1401956"/>
              <a:gd name="connsiteX19" fmla="*/ 1150747 w 1295400"/>
              <a:gd name="connsiteY19" fmla="*/ 1159808 h 1401956"/>
              <a:gd name="connsiteX20" fmla="*/ 792293 w 1295400"/>
              <a:gd name="connsiteY20" fmla="*/ 1367420 h 1401956"/>
              <a:gd name="connsiteX21" fmla="*/ 503108 w 1295400"/>
              <a:gd name="connsiteY21" fmla="*/ 1367420 h 1401956"/>
              <a:gd name="connsiteX22" fmla="*/ 144653 w 1295400"/>
              <a:gd name="connsiteY22" fmla="*/ 1159808 h 1401956"/>
              <a:gd name="connsiteX23" fmla="*/ 0 w 1295400"/>
              <a:gd name="connsiteY23" fmla="*/ 908986 h 1401956"/>
              <a:gd name="connsiteX24" fmla="*/ 0 w 1295400"/>
              <a:gd name="connsiteY24" fmla="*/ 492970 h 1401956"/>
              <a:gd name="connsiteX25" fmla="*/ 144653 w 1295400"/>
              <a:gd name="connsiteY25" fmla="*/ 242148 h 1401956"/>
              <a:gd name="connsiteX26" fmla="*/ 503108 w 1295400"/>
              <a:gd name="connsiteY26" fmla="*/ 34536 h 1401956"/>
              <a:gd name="connsiteX27" fmla="*/ 647700 w 1295400"/>
              <a:gd name="connsiteY27" fmla="*/ 0 h 140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5400" h="1401956">
                <a:moveTo>
                  <a:pt x="647700" y="156700"/>
                </a:moveTo>
                <a:cubicBezTo>
                  <a:pt x="607002" y="156700"/>
                  <a:pt x="566304" y="165639"/>
                  <a:pt x="535431" y="183516"/>
                </a:cubicBezTo>
                <a:lnTo>
                  <a:pt x="257107" y="344717"/>
                </a:lnTo>
                <a:cubicBezTo>
                  <a:pt x="195314" y="380471"/>
                  <a:pt x="144790" y="468115"/>
                  <a:pt x="144790" y="539469"/>
                </a:cubicBezTo>
                <a:lnTo>
                  <a:pt x="144790" y="862487"/>
                </a:lnTo>
                <a:cubicBezTo>
                  <a:pt x="144790" y="933841"/>
                  <a:pt x="195314" y="1021485"/>
                  <a:pt x="257107" y="1057239"/>
                </a:cubicBezTo>
                <a:lnTo>
                  <a:pt x="535431" y="1218441"/>
                </a:lnTo>
                <a:cubicBezTo>
                  <a:pt x="597177" y="1254195"/>
                  <a:pt x="698224" y="1254195"/>
                  <a:pt x="759970" y="1218441"/>
                </a:cubicBezTo>
                <a:lnTo>
                  <a:pt x="1038294" y="1057239"/>
                </a:lnTo>
                <a:cubicBezTo>
                  <a:pt x="1100087" y="1021485"/>
                  <a:pt x="1150610" y="933841"/>
                  <a:pt x="1150610" y="862487"/>
                </a:cubicBezTo>
                <a:lnTo>
                  <a:pt x="1150610" y="539469"/>
                </a:lnTo>
                <a:cubicBezTo>
                  <a:pt x="1150610" y="468115"/>
                  <a:pt x="1100087" y="380471"/>
                  <a:pt x="1038294" y="344717"/>
                </a:cubicBezTo>
                <a:lnTo>
                  <a:pt x="759970" y="183516"/>
                </a:lnTo>
                <a:cubicBezTo>
                  <a:pt x="729097" y="165639"/>
                  <a:pt x="688399" y="156700"/>
                  <a:pt x="647700" y="156700"/>
                </a:cubicBezTo>
                <a:close/>
                <a:moveTo>
                  <a:pt x="647700" y="0"/>
                </a:moveTo>
                <a:cubicBezTo>
                  <a:pt x="700116" y="0"/>
                  <a:pt x="752532" y="11512"/>
                  <a:pt x="792293" y="34536"/>
                </a:cubicBezTo>
                <a:lnTo>
                  <a:pt x="1150747" y="242148"/>
                </a:lnTo>
                <a:cubicBezTo>
                  <a:pt x="1230331" y="288196"/>
                  <a:pt x="1295400" y="401072"/>
                  <a:pt x="1295400" y="492970"/>
                </a:cubicBezTo>
                <a:lnTo>
                  <a:pt x="1295400" y="908986"/>
                </a:lnTo>
                <a:cubicBezTo>
                  <a:pt x="1295400" y="1000884"/>
                  <a:pt x="1230331" y="1113760"/>
                  <a:pt x="1150747" y="1159808"/>
                </a:cubicBezTo>
                <a:lnTo>
                  <a:pt x="792293" y="1367420"/>
                </a:lnTo>
                <a:cubicBezTo>
                  <a:pt x="712770" y="1413468"/>
                  <a:pt x="582631" y="1413468"/>
                  <a:pt x="503108" y="1367420"/>
                </a:cubicBezTo>
                <a:lnTo>
                  <a:pt x="144653" y="1159808"/>
                </a:lnTo>
                <a:cubicBezTo>
                  <a:pt x="65070" y="1113760"/>
                  <a:pt x="0" y="1000884"/>
                  <a:pt x="0" y="908986"/>
                </a:cubicBezTo>
                <a:lnTo>
                  <a:pt x="0" y="492970"/>
                </a:lnTo>
                <a:cubicBezTo>
                  <a:pt x="0" y="401072"/>
                  <a:pt x="65070" y="288196"/>
                  <a:pt x="144653" y="242148"/>
                </a:cubicBezTo>
                <a:lnTo>
                  <a:pt x="503108" y="34536"/>
                </a:lnTo>
                <a:cubicBezTo>
                  <a:pt x="542869" y="11512"/>
                  <a:pt x="595285" y="0"/>
                  <a:pt x="647700"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cxnSp>
        <p:nvCxnSpPr>
          <p:cNvPr id="5" name="Straight Connector 4">
            <a:extLst>
              <a:ext uri="{FF2B5EF4-FFF2-40B4-BE49-F238E27FC236}">
                <a16:creationId xmlns:a16="http://schemas.microsoft.com/office/drawing/2014/main" id="{F7B773E2-79F5-439E-A80C-24D3520CFB07}"/>
              </a:ext>
            </a:extLst>
          </p:cNvPr>
          <p:cNvCxnSpPr>
            <a:cxnSpLocks/>
          </p:cNvCxnSpPr>
          <p:nvPr userDrawn="1"/>
        </p:nvCxnSpPr>
        <p:spPr>
          <a:xfrm>
            <a:off x="6096000" y="-129092"/>
            <a:ext cx="0" cy="1201147"/>
          </a:xfrm>
          <a:prstGeom prst="line">
            <a:avLst/>
          </a:prstGeom>
          <a:ln w="6350">
            <a:solidFill>
              <a:schemeClr val="tx1">
                <a:alpha val="20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F6E02E4-6785-4C21-A758-C86304927B69}"/>
              </a:ext>
            </a:extLst>
          </p:cNvPr>
          <p:cNvCxnSpPr>
            <a:cxnSpLocks/>
          </p:cNvCxnSpPr>
          <p:nvPr userDrawn="1"/>
        </p:nvCxnSpPr>
        <p:spPr>
          <a:xfrm>
            <a:off x="6085490" y="5454869"/>
            <a:ext cx="10510" cy="1580633"/>
          </a:xfrm>
          <a:prstGeom prst="line">
            <a:avLst/>
          </a:prstGeom>
          <a:ln w="6350">
            <a:solidFill>
              <a:schemeClr val="tx1">
                <a:alpha val="20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A8DC8D5F-D778-4555-BC9A-1E7AE871F401}"/>
              </a:ext>
            </a:extLst>
          </p:cNvPr>
          <p:cNvCxnSpPr>
            <a:cxnSpLocks/>
          </p:cNvCxnSpPr>
          <p:nvPr userDrawn="1"/>
        </p:nvCxnSpPr>
        <p:spPr>
          <a:xfrm>
            <a:off x="6085490" y="2878844"/>
            <a:ext cx="5255" cy="814181"/>
          </a:xfrm>
          <a:prstGeom prst="line">
            <a:avLst/>
          </a:prstGeom>
          <a:ln w="6350">
            <a:solidFill>
              <a:schemeClr val="tx1">
                <a:alpha val="20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566442"/>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7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88C06EA-20D8-47B4-991A-51067141C56D}"/>
              </a:ext>
            </a:extLst>
          </p:cNvPr>
          <p:cNvGraphicFramePr>
            <a:graphicFrameLocks noChangeAspect="1"/>
          </p:cNvGraphicFramePr>
          <p:nvPr userDrawn="1">
            <p:custDataLst>
              <p:tags r:id="rId1"/>
            </p:custDataLst>
            <p:extLst>
              <p:ext uri="{D42A27DB-BD31-4B8C-83A1-F6EECF244321}">
                <p14:modId xmlns:p14="http://schemas.microsoft.com/office/powerpoint/2010/main" val="234110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388C06EA-20D8-47B4-991A-51067141C5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4"/>
          <p:cNvSpPr>
            <a:spLocks noGrp="1"/>
          </p:cNvSpPr>
          <p:nvPr>
            <p:ph type="pic" sz="quarter" idx="16" hasCustomPrompt="1"/>
          </p:nvPr>
        </p:nvSpPr>
        <p:spPr>
          <a:xfrm>
            <a:off x="5022273" y="2198517"/>
            <a:ext cx="2147454" cy="2324098"/>
          </a:xfrm>
          <a:custGeom>
            <a:avLst/>
            <a:gdLst>
              <a:gd name="connsiteX0" fmla="*/ 647700 w 1295400"/>
              <a:gd name="connsiteY0" fmla="*/ 156700 h 1401956"/>
              <a:gd name="connsiteX1" fmla="*/ 535431 w 1295400"/>
              <a:gd name="connsiteY1" fmla="*/ 183516 h 1401956"/>
              <a:gd name="connsiteX2" fmla="*/ 257107 w 1295400"/>
              <a:gd name="connsiteY2" fmla="*/ 344717 h 1401956"/>
              <a:gd name="connsiteX3" fmla="*/ 144790 w 1295400"/>
              <a:gd name="connsiteY3" fmla="*/ 539469 h 1401956"/>
              <a:gd name="connsiteX4" fmla="*/ 144790 w 1295400"/>
              <a:gd name="connsiteY4" fmla="*/ 862487 h 1401956"/>
              <a:gd name="connsiteX5" fmla="*/ 257107 w 1295400"/>
              <a:gd name="connsiteY5" fmla="*/ 1057239 h 1401956"/>
              <a:gd name="connsiteX6" fmla="*/ 535431 w 1295400"/>
              <a:gd name="connsiteY6" fmla="*/ 1218441 h 1401956"/>
              <a:gd name="connsiteX7" fmla="*/ 759970 w 1295400"/>
              <a:gd name="connsiteY7" fmla="*/ 1218441 h 1401956"/>
              <a:gd name="connsiteX8" fmla="*/ 1038294 w 1295400"/>
              <a:gd name="connsiteY8" fmla="*/ 1057239 h 1401956"/>
              <a:gd name="connsiteX9" fmla="*/ 1150610 w 1295400"/>
              <a:gd name="connsiteY9" fmla="*/ 862487 h 1401956"/>
              <a:gd name="connsiteX10" fmla="*/ 1150610 w 1295400"/>
              <a:gd name="connsiteY10" fmla="*/ 539469 h 1401956"/>
              <a:gd name="connsiteX11" fmla="*/ 1038294 w 1295400"/>
              <a:gd name="connsiteY11" fmla="*/ 344717 h 1401956"/>
              <a:gd name="connsiteX12" fmla="*/ 759970 w 1295400"/>
              <a:gd name="connsiteY12" fmla="*/ 183516 h 1401956"/>
              <a:gd name="connsiteX13" fmla="*/ 647700 w 1295400"/>
              <a:gd name="connsiteY13" fmla="*/ 156700 h 1401956"/>
              <a:gd name="connsiteX14" fmla="*/ 647700 w 1295400"/>
              <a:gd name="connsiteY14" fmla="*/ 0 h 1401956"/>
              <a:gd name="connsiteX15" fmla="*/ 792293 w 1295400"/>
              <a:gd name="connsiteY15" fmla="*/ 34536 h 1401956"/>
              <a:gd name="connsiteX16" fmla="*/ 1150747 w 1295400"/>
              <a:gd name="connsiteY16" fmla="*/ 242148 h 1401956"/>
              <a:gd name="connsiteX17" fmla="*/ 1295400 w 1295400"/>
              <a:gd name="connsiteY17" fmla="*/ 492970 h 1401956"/>
              <a:gd name="connsiteX18" fmla="*/ 1295400 w 1295400"/>
              <a:gd name="connsiteY18" fmla="*/ 908986 h 1401956"/>
              <a:gd name="connsiteX19" fmla="*/ 1150747 w 1295400"/>
              <a:gd name="connsiteY19" fmla="*/ 1159808 h 1401956"/>
              <a:gd name="connsiteX20" fmla="*/ 792293 w 1295400"/>
              <a:gd name="connsiteY20" fmla="*/ 1367420 h 1401956"/>
              <a:gd name="connsiteX21" fmla="*/ 503108 w 1295400"/>
              <a:gd name="connsiteY21" fmla="*/ 1367420 h 1401956"/>
              <a:gd name="connsiteX22" fmla="*/ 144653 w 1295400"/>
              <a:gd name="connsiteY22" fmla="*/ 1159808 h 1401956"/>
              <a:gd name="connsiteX23" fmla="*/ 0 w 1295400"/>
              <a:gd name="connsiteY23" fmla="*/ 908986 h 1401956"/>
              <a:gd name="connsiteX24" fmla="*/ 0 w 1295400"/>
              <a:gd name="connsiteY24" fmla="*/ 492970 h 1401956"/>
              <a:gd name="connsiteX25" fmla="*/ 144653 w 1295400"/>
              <a:gd name="connsiteY25" fmla="*/ 242148 h 1401956"/>
              <a:gd name="connsiteX26" fmla="*/ 503108 w 1295400"/>
              <a:gd name="connsiteY26" fmla="*/ 34536 h 1401956"/>
              <a:gd name="connsiteX27" fmla="*/ 647700 w 1295400"/>
              <a:gd name="connsiteY27" fmla="*/ 0 h 140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5400" h="1401956">
                <a:moveTo>
                  <a:pt x="647700" y="156700"/>
                </a:moveTo>
                <a:cubicBezTo>
                  <a:pt x="607002" y="156700"/>
                  <a:pt x="566304" y="165639"/>
                  <a:pt x="535431" y="183516"/>
                </a:cubicBezTo>
                <a:lnTo>
                  <a:pt x="257107" y="344717"/>
                </a:lnTo>
                <a:cubicBezTo>
                  <a:pt x="195314" y="380471"/>
                  <a:pt x="144790" y="468115"/>
                  <a:pt x="144790" y="539469"/>
                </a:cubicBezTo>
                <a:lnTo>
                  <a:pt x="144790" y="862487"/>
                </a:lnTo>
                <a:cubicBezTo>
                  <a:pt x="144790" y="933841"/>
                  <a:pt x="195314" y="1021485"/>
                  <a:pt x="257107" y="1057239"/>
                </a:cubicBezTo>
                <a:lnTo>
                  <a:pt x="535431" y="1218441"/>
                </a:lnTo>
                <a:cubicBezTo>
                  <a:pt x="597177" y="1254195"/>
                  <a:pt x="698224" y="1254195"/>
                  <a:pt x="759970" y="1218441"/>
                </a:cubicBezTo>
                <a:lnTo>
                  <a:pt x="1038294" y="1057239"/>
                </a:lnTo>
                <a:cubicBezTo>
                  <a:pt x="1100087" y="1021485"/>
                  <a:pt x="1150610" y="933841"/>
                  <a:pt x="1150610" y="862487"/>
                </a:cubicBezTo>
                <a:lnTo>
                  <a:pt x="1150610" y="539469"/>
                </a:lnTo>
                <a:cubicBezTo>
                  <a:pt x="1150610" y="468115"/>
                  <a:pt x="1100087" y="380471"/>
                  <a:pt x="1038294" y="344717"/>
                </a:cubicBezTo>
                <a:lnTo>
                  <a:pt x="759970" y="183516"/>
                </a:lnTo>
                <a:cubicBezTo>
                  <a:pt x="729097" y="165639"/>
                  <a:pt x="688399" y="156700"/>
                  <a:pt x="647700" y="156700"/>
                </a:cubicBezTo>
                <a:close/>
                <a:moveTo>
                  <a:pt x="647700" y="0"/>
                </a:moveTo>
                <a:cubicBezTo>
                  <a:pt x="700116" y="0"/>
                  <a:pt x="752532" y="11512"/>
                  <a:pt x="792293" y="34536"/>
                </a:cubicBezTo>
                <a:lnTo>
                  <a:pt x="1150747" y="242148"/>
                </a:lnTo>
                <a:cubicBezTo>
                  <a:pt x="1230331" y="288196"/>
                  <a:pt x="1295400" y="401072"/>
                  <a:pt x="1295400" y="492970"/>
                </a:cubicBezTo>
                <a:lnTo>
                  <a:pt x="1295400" y="908986"/>
                </a:lnTo>
                <a:cubicBezTo>
                  <a:pt x="1295400" y="1000884"/>
                  <a:pt x="1230331" y="1113760"/>
                  <a:pt x="1150747" y="1159808"/>
                </a:cubicBezTo>
                <a:lnTo>
                  <a:pt x="792293" y="1367420"/>
                </a:lnTo>
                <a:cubicBezTo>
                  <a:pt x="712770" y="1413468"/>
                  <a:pt x="582631" y="1413468"/>
                  <a:pt x="503108" y="1367420"/>
                </a:cubicBezTo>
                <a:lnTo>
                  <a:pt x="144653" y="1159808"/>
                </a:lnTo>
                <a:cubicBezTo>
                  <a:pt x="65070" y="1113760"/>
                  <a:pt x="0" y="1000884"/>
                  <a:pt x="0" y="908986"/>
                </a:cubicBezTo>
                <a:lnTo>
                  <a:pt x="0" y="492970"/>
                </a:lnTo>
                <a:cubicBezTo>
                  <a:pt x="0" y="401072"/>
                  <a:pt x="65070" y="288196"/>
                  <a:pt x="144653" y="242148"/>
                </a:cubicBezTo>
                <a:lnTo>
                  <a:pt x="503108" y="34536"/>
                </a:lnTo>
                <a:cubicBezTo>
                  <a:pt x="542869" y="11512"/>
                  <a:pt x="595285" y="0"/>
                  <a:pt x="647700"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cxnSp>
        <p:nvCxnSpPr>
          <p:cNvPr id="8" name="Straight Connector 7">
            <a:extLst>
              <a:ext uri="{FF2B5EF4-FFF2-40B4-BE49-F238E27FC236}">
                <a16:creationId xmlns:a16="http://schemas.microsoft.com/office/drawing/2014/main" id="{79ABABCB-C136-4C06-9B68-86DDFFF6D4AD}"/>
              </a:ext>
            </a:extLst>
          </p:cNvPr>
          <p:cNvCxnSpPr>
            <a:cxnSpLocks/>
          </p:cNvCxnSpPr>
          <p:nvPr userDrawn="1"/>
        </p:nvCxnSpPr>
        <p:spPr>
          <a:xfrm>
            <a:off x="6090745" y="-115614"/>
            <a:ext cx="0" cy="2144113"/>
          </a:xfrm>
          <a:prstGeom prst="line">
            <a:avLst/>
          </a:prstGeom>
          <a:ln w="6350">
            <a:solidFill>
              <a:schemeClr val="tx1">
                <a:alpha val="20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5706180"/>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8_Title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94D906-BFDC-4673-87C0-57CF4F3DF8E6}"/>
              </a:ext>
            </a:extLst>
          </p:cNvPr>
          <p:cNvGraphicFramePr>
            <a:graphicFrameLocks noChangeAspect="1"/>
          </p:cNvGraphicFramePr>
          <p:nvPr userDrawn="1">
            <p:custDataLst>
              <p:tags r:id="rId1"/>
            </p:custDataLst>
            <p:extLst>
              <p:ext uri="{D42A27DB-BD31-4B8C-83A1-F6EECF244321}">
                <p14:modId xmlns:p14="http://schemas.microsoft.com/office/powerpoint/2010/main" val="6493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2" name="Object 1" hidden="1">
                        <a:extLst>
                          <a:ext uri="{FF2B5EF4-FFF2-40B4-BE49-F238E27FC236}">
                            <a16:creationId xmlns:a16="http://schemas.microsoft.com/office/drawing/2014/main" id="{0C94D906-BFDC-4673-87C0-57CF4F3DF8E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3"/>
          <p:cNvSpPr>
            <a:spLocks noGrp="1"/>
          </p:cNvSpPr>
          <p:nvPr>
            <p:ph type="pic" sz="quarter" idx="17" hasCustomPrompt="1"/>
          </p:nvPr>
        </p:nvSpPr>
        <p:spPr>
          <a:xfrm>
            <a:off x="2993546" y="762000"/>
            <a:ext cx="1627058" cy="1627057"/>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10" name="Picture Placeholder 3"/>
          <p:cNvSpPr>
            <a:spLocks noGrp="1"/>
          </p:cNvSpPr>
          <p:nvPr>
            <p:ph type="pic" sz="quarter" idx="18" hasCustomPrompt="1"/>
          </p:nvPr>
        </p:nvSpPr>
        <p:spPr>
          <a:xfrm>
            <a:off x="-1410814" y="0"/>
            <a:ext cx="2821627" cy="2821625"/>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11" name="Picture Placeholder 3"/>
          <p:cNvSpPr>
            <a:spLocks noGrp="1"/>
          </p:cNvSpPr>
          <p:nvPr>
            <p:ph type="pic" sz="quarter" idx="19" hasCustomPrompt="1"/>
          </p:nvPr>
        </p:nvSpPr>
        <p:spPr>
          <a:xfrm>
            <a:off x="7743460" y="-1410813"/>
            <a:ext cx="2821627" cy="2821625"/>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12" name="Picture Placeholder 3"/>
          <p:cNvSpPr>
            <a:spLocks noGrp="1"/>
          </p:cNvSpPr>
          <p:nvPr>
            <p:ph type="pic" sz="quarter" idx="20" hasCustomPrompt="1"/>
          </p:nvPr>
        </p:nvSpPr>
        <p:spPr>
          <a:xfrm>
            <a:off x="10711065" y="3784102"/>
            <a:ext cx="2821627" cy="2821625"/>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13" name="Picture Placeholder 3"/>
          <p:cNvSpPr>
            <a:spLocks noGrp="1"/>
          </p:cNvSpPr>
          <p:nvPr>
            <p:ph type="pic" sz="quarter" idx="21" hasCustomPrompt="1"/>
          </p:nvPr>
        </p:nvSpPr>
        <p:spPr>
          <a:xfrm>
            <a:off x="2038326" y="4613098"/>
            <a:ext cx="1304263" cy="1304262"/>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14" name="Picture Placeholder 3"/>
          <p:cNvSpPr>
            <a:spLocks noGrp="1"/>
          </p:cNvSpPr>
          <p:nvPr>
            <p:ph type="pic" sz="quarter" idx="22" hasCustomPrompt="1"/>
          </p:nvPr>
        </p:nvSpPr>
        <p:spPr>
          <a:xfrm>
            <a:off x="8901464" y="4052142"/>
            <a:ext cx="1304263" cy="1304262"/>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15" name="Picture Placeholder 3"/>
          <p:cNvSpPr>
            <a:spLocks noGrp="1"/>
          </p:cNvSpPr>
          <p:nvPr>
            <p:ph type="pic" sz="quarter" idx="23" hasCustomPrompt="1"/>
          </p:nvPr>
        </p:nvSpPr>
        <p:spPr>
          <a:xfrm>
            <a:off x="10711065" y="1410812"/>
            <a:ext cx="1304263" cy="1304262"/>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
        <p:nvSpPr>
          <p:cNvPr id="16" name="Picture Placeholder 3"/>
          <p:cNvSpPr>
            <a:spLocks noGrp="1"/>
          </p:cNvSpPr>
          <p:nvPr>
            <p:ph type="pic" sz="quarter" idx="24" hasCustomPrompt="1"/>
          </p:nvPr>
        </p:nvSpPr>
        <p:spPr>
          <a:xfrm>
            <a:off x="5221817" y="193433"/>
            <a:ext cx="5043285" cy="5043281"/>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a:pattFill prst="pct10">
            <a:fgClr>
              <a:schemeClr val="tx1"/>
            </a:fgClr>
            <a:bgClr>
              <a:schemeClr val="bg1"/>
            </a:bgClr>
          </a:pattFill>
          <a:effectLst>
            <a:softEdge rad="317500"/>
          </a:effectLst>
        </p:spPr>
        <p:txBody>
          <a:bodyPr wrap="square" anchor="ctr">
            <a:noAutofit/>
          </a:bodyPr>
          <a:lstStyle>
            <a:lvl1pPr algn="ctr" rtl="0">
              <a:defRPr sz="1600" b="0" i="0">
                <a:latin typeface="EC Square Sans Cond Pro" panose="020B0506040000020004" pitchFamily="34" charset="0"/>
                <a:ea typeface="EC Square Sans Cond Pro" panose="020B0506040000020004" pitchFamily="34" charset="0"/>
                <a:cs typeface="EC Square Sans Cond Pro" panose="020B0506040000020004" pitchFamily="34" charset="0"/>
              </a:defRPr>
            </a:lvl1pPr>
          </a:lstStyle>
          <a:p>
            <a:r>
              <a:rPr lang="en-GB"/>
              <a:t>Insert Image</a:t>
            </a:r>
            <a:endParaRPr lang="en-GB" dirty="0"/>
          </a:p>
        </p:txBody>
      </p:sp>
    </p:spTree>
    <p:extLst>
      <p:ext uri="{BB962C8B-B14F-4D97-AF65-F5344CB8AC3E}">
        <p14:creationId xmlns:p14="http://schemas.microsoft.com/office/powerpoint/2010/main" val="352634457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C9A6967-446F-40AC-A653-2FC224441873}"/>
              </a:ext>
            </a:extLst>
          </p:cNvPr>
          <p:cNvGraphicFramePr>
            <a:graphicFrameLocks noChangeAspect="1"/>
          </p:cNvGraphicFramePr>
          <p:nvPr userDrawn="1">
            <p:custDataLst>
              <p:tags r:id="rId1"/>
            </p:custDataLst>
            <p:extLst>
              <p:ext uri="{D42A27DB-BD31-4B8C-83A1-F6EECF244321}">
                <p14:modId xmlns:p14="http://schemas.microsoft.com/office/powerpoint/2010/main" val="2866070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8C9A6967-446F-40AC-A653-2FC2244418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1" name="Picture Placeholder 2">
            <a:extLst>
              <a:ext uri="{FF2B5EF4-FFF2-40B4-BE49-F238E27FC236}">
                <a16:creationId xmlns:a16="http://schemas.microsoft.com/office/drawing/2014/main" id="{3CD09590-1A94-4D70-B173-AE25963A5E54}"/>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20332" b="20332"/>
          <a:stretch>
            <a:fillRect/>
          </a:stretch>
        </p:blipFill>
        <p:spPr>
          <a:xfrm>
            <a:off x="0" y="1077913"/>
            <a:ext cx="12192000" cy="5780087"/>
          </a:xfrm>
          <a:prstGeom prst="rect">
            <a:avLst/>
          </a:prstGeom>
        </p:spPr>
      </p:pic>
      <p:sp>
        <p:nvSpPr>
          <p:cNvPr id="33" name="Rectangle 32">
            <a:extLst>
              <a:ext uri="{FF2B5EF4-FFF2-40B4-BE49-F238E27FC236}">
                <a16:creationId xmlns:a16="http://schemas.microsoft.com/office/drawing/2014/main" id="{1323E2CA-CBE0-4309-863C-0EB290C7CD33}"/>
              </a:ext>
            </a:extLst>
          </p:cNvPr>
          <p:cNvSpPr/>
          <p:nvPr userDrawn="1"/>
        </p:nvSpPr>
        <p:spPr>
          <a:xfrm>
            <a:off x="5703580"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GB" dirty="0"/>
          </a:p>
        </p:txBody>
      </p:sp>
      <p:sp>
        <p:nvSpPr>
          <p:cNvPr id="34" name="Flowchart: Process 33">
            <a:extLst>
              <a:ext uri="{FF2B5EF4-FFF2-40B4-BE49-F238E27FC236}">
                <a16:creationId xmlns:a16="http://schemas.microsoft.com/office/drawing/2014/main" id="{ACE1F780-2AFB-4425-AD81-8E73678E2241}"/>
              </a:ext>
            </a:extLst>
          </p:cNvPr>
          <p:cNvSpPr/>
          <p:nvPr userDrawn="1"/>
        </p:nvSpPr>
        <p:spPr>
          <a:xfrm>
            <a:off x="0" y="1073943"/>
            <a:ext cx="12192000" cy="5781845"/>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sp>
        <p:nvSpPr>
          <p:cNvPr id="45" name="Rectangle 44">
            <a:extLst>
              <a:ext uri="{FF2B5EF4-FFF2-40B4-BE49-F238E27FC236}">
                <a16:creationId xmlns:a16="http://schemas.microsoft.com/office/drawing/2014/main" id="{A21556FD-E0D7-46F1-B203-F4BA4F40D75D}"/>
              </a:ext>
            </a:extLst>
          </p:cNvPr>
          <p:cNvSpPr/>
          <p:nvPr userDrawn="1"/>
        </p:nvSpPr>
        <p:spPr>
          <a:xfrm>
            <a:off x="5735734" y="6615194"/>
            <a:ext cx="64309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rtl="0"/>
            <a:endParaRPr lang="en-GB" dirty="0"/>
          </a:p>
        </p:txBody>
      </p:sp>
      <p:cxnSp>
        <p:nvCxnSpPr>
          <p:cNvPr id="57" name="Straight Connector 56">
            <a:extLst>
              <a:ext uri="{FF2B5EF4-FFF2-40B4-BE49-F238E27FC236}">
                <a16:creationId xmlns:a16="http://schemas.microsoft.com/office/drawing/2014/main" id="{052DA5C5-F691-40A7-A6FC-E32794CCA940}"/>
              </a:ext>
            </a:extLst>
          </p:cNvPr>
          <p:cNvCxnSpPr>
            <a:cxnSpLocks/>
          </p:cNvCxnSpPr>
          <p:nvPr userDrawn="1"/>
        </p:nvCxnSpPr>
        <p:spPr>
          <a:xfrm flipV="1">
            <a:off x="839418" y="1978925"/>
            <a:ext cx="0" cy="8145553"/>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pic>
        <p:nvPicPr>
          <p:cNvPr id="41" name="Picture 40">
            <a:extLst>
              <a:ext uri="{FF2B5EF4-FFF2-40B4-BE49-F238E27FC236}">
                <a16:creationId xmlns:a16="http://schemas.microsoft.com/office/drawing/2014/main" id="{F80B09C3-0502-4906-A605-B57A558F597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51355" y="254072"/>
            <a:ext cx="1659793" cy="1152460"/>
          </a:xfrm>
          <a:prstGeom prst="rect">
            <a:avLst/>
          </a:prstGeom>
        </p:spPr>
      </p:pic>
      <p:sp>
        <p:nvSpPr>
          <p:cNvPr id="16" name="Title 1">
            <a:extLst>
              <a:ext uri="{FF2B5EF4-FFF2-40B4-BE49-F238E27FC236}">
                <a16:creationId xmlns:a16="http://schemas.microsoft.com/office/drawing/2014/main" id="{C312B161-CB47-49FE-9EB9-306C46355C24}"/>
              </a:ext>
            </a:extLst>
          </p:cNvPr>
          <p:cNvSpPr>
            <a:spLocks noGrp="1"/>
          </p:cNvSpPr>
          <p:nvPr>
            <p:ph type="ctrTitle"/>
          </p:nvPr>
        </p:nvSpPr>
        <p:spPr>
          <a:xfrm>
            <a:off x="2035704" y="2837684"/>
            <a:ext cx="8203672" cy="1268958"/>
          </a:xfrm>
        </p:spPr>
        <p:txBody>
          <a:bodyPr vert="horz" anchor="b">
            <a:noAutofit/>
          </a:bodyPr>
          <a:lstStyle>
            <a:lvl1pPr algn="l" rtl="0">
              <a:defRPr sz="6000">
                <a:solidFill>
                  <a:schemeClr val="bg1"/>
                </a:solidFill>
              </a:defRPr>
            </a:lvl1pPr>
          </a:lstStyle>
          <a:p>
            <a:r>
              <a:rPr lang="en-GB"/>
              <a:t>Click to edit Master title style</a:t>
            </a:r>
            <a:endParaRPr lang="en-GB" dirty="0"/>
          </a:p>
        </p:txBody>
      </p:sp>
      <p:sp>
        <p:nvSpPr>
          <p:cNvPr id="17" name="Subtitle 2">
            <a:extLst>
              <a:ext uri="{FF2B5EF4-FFF2-40B4-BE49-F238E27FC236}">
                <a16:creationId xmlns:a16="http://schemas.microsoft.com/office/drawing/2014/main" id="{A2D0EFBC-120D-4E20-BF81-C5713BF72E7D}"/>
              </a:ext>
            </a:extLst>
          </p:cNvPr>
          <p:cNvSpPr>
            <a:spLocks noGrp="1"/>
          </p:cNvSpPr>
          <p:nvPr>
            <p:ph type="subTitle" idx="1"/>
          </p:nvPr>
        </p:nvSpPr>
        <p:spPr>
          <a:xfrm>
            <a:off x="2035705" y="4233918"/>
            <a:ext cx="8203672" cy="659777"/>
          </a:xfrm>
          <a:prstGeom prst="rect">
            <a:avLst/>
          </a:prstGeom>
        </p:spPr>
        <p:txBody>
          <a:bodyPr>
            <a:noAutofit/>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sp>
        <p:nvSpPr>
          <p:cNvPr id="32" name="TextBox 31">
            <a:extLst>
              <a:ext uri="{FF2B5EF4-FFF2-40B4-BE49-F238E27FC236}">
                <a16:creationId xmlns:a16="http://schemas.microsoft.com/office/drawing/2014/main" id="{6B74B993-4AF2-4CD6-B144-41B791C5A64F}"/>
              </a:ext>
            </a:extLst>
          </p:cNvPr>
          <p:cNvSpPr txBox="1"/>
          <p:nvPr userDrawn="1"/>
        </p:nvSpPr>
        <p:spPr>
          <a:xfrm>
            <a:off x="4217114" y="5069869"/>
            <a:ext cx="3302850" cy="1224566"/>
          </a:xfrm>
          <a:prstGeom prst="rect">
            <a:avLst/>
          </a:prstGeom>
          <a:noFill/>
        </p:spPr>
        <p:txBody>
          <a:bodyPr wrap="square" lIns="0" tIns="0" rIns="91440" bIns="0" rtlCol="0">
            <a:spAutoFit/>
          </a:bodyPr>
          <a:lstStyle/>
          <a:p>
            <a:pPr rtl="0"/>
            <a:r>
              <a:rPr lang="en-GB" sz="1400" b="1" kern="0" dirty="0">
                <a:solidFill>
                  <a:schemeClr val="bg1"/>
                </a:solidFill>
                <a:latin typeface="Verdana" charset="0"/>
                <a:cs typeface="Verdana" charset="0"/>
              </a:rPr>
              <a:t>Digital Europe Programme</a:t>
            </a:r>
            <a:endParaRPr lang="en-GB" sz="200" b="1" kern="0" dirty="0">
              <a:solidFill>
                <a:schemeClr val="bg1"/>
              </a:solidFill>
              <a:latin typeface="Verdana" charset="0"/>
              <a:cs typeface="Verdana" charset="0"/>
            </a:endParaRPr>
          </a:p>
          <a:p>
            <a:pPr rtl="0"/>
            <a:endParaRPr lang="en-GB" sz="200" b="1" kern="0" dirty="0">
              <a:solidFill>
                <a:schemeClr val="bg1"/>
              </a:solidFill>
              <a:latin typeface="Verdana" charset="0"/>
              <a:cs typeface="Verdana" charset="0"/>
            </a:endParaRPr>
          </a:p>
          <a:p>
            <a:pPr rtl="0"/>
            <a:r>
              <a:rPr lang="en-GB" sz="1200" b="1" kern="0" dirty="0">
                <a:solidFill>
                  <a:schemeClr val="bg1"/>
                </a:solidFill>
                <a:latin typeface="Verdana" charset="0"/>
                <a:cs typeface="Verdana" charset="0"/>
              </a:rPr>
              <a:t>Project Officers:</a:t>
            </a:r>
          </a:p>
          <a:p>
            <a:pPr rtl="0"/>
            <a:r>
              <a:rPr lang="en-GB" sz="1200" kern="0" dirty="0">
                <a:solidFill>
                  <a:schemeClr val="bg1"/>
                </a:solidFill>
              </a:rPr>
              <a:t>Bernard CLAES</a:t>
            </a:r>
          </a:p>
          <a:p>
            <a:pPr rtl="0"/>
            <a:r>
              <a:rPr lang="en-GB" sz="1200" kern="0" dirty="0">
                <a:solidFill>
                  <a:schemeClr val="bg1"/>
                </a:solidFill>
              </a:rPr>
              <a:t>Victoria KALOGIROU</a:t>
            </a:r>
          </a:p>
          <a:p>
            <a:pPr rtl="0"/>
            <a:r>
              <a:rPr lang="en-GB" sz="1200" kern="0" dirty="0">
                <a:solidFill>
                  <a:schemeClr val="bg1"/>
                </a:solidFill>
              </a:rPr>
              <a:t>Miguel ALVAREZ RODRIGUEZ</a:t>
            </a:r>
          </a:p>
          <a:p>
            <a:pPr rtl="0">
              <a:lnSpc>
                <a:spcPct val="150000"/>
              </a:lnSpc>
            </a:pPr>
            <a:endParaRPr lang="en-GB" sz="1200" kern="0" dirty="0">
              <a:solidFill>
                <a:schemeClr val="bg1"/>
              </a:solidFill>
              <a:latin typeface="Verdana" charset="0"/>
              <a:cs typeface="Verdana" charset="0"/>
            </a:endParaRPr>
          </a:p>
        </p:txBody>
      </p:sp>
      <p:pic>
        <p:nvPicPr>
          <p:cNvPr id="35" name="Picture 34">
            <a:extLst>
              <a:ext uri="{FF2B5EF4-FFF2-40B4-BE49-F238E27FC236}">
                <a16:creationId xmlns:a16="http://schemas.microsoft.com/office/drawing/2014/main" id="{2CABD62B-96CF-472D-BB7A-49B65BC70C6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534702" y="4668695"/>
            <a:ext cx="2991134" cy="1281570"/>
          </a:xfrm>
          <a:prstGeom prst="rect">
            <a:avLst/>
          </a:prstGeom>
        </p:spPr>
      </p:pic>
      <p:pic>
        <p:nvPicPr>
          <p:cNvPr id="36" name="Picture 35">
            <a:extLst>
              <a:ext uri="{FF2B5EF4-FFF2-40B4-BE49-F238E27FC236}">
                <a16:creationId xmlns:a16="http://schemas.microsoft.com/office/drawing/2014/main" id="{A93B194E-C3B8-4C34-86BB-96D65DB64FC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000687" y="5000879"/>
            <a:ext cx="1800219" cy="699115"/>
          </a:xfrm>
          <a:prstGeom prst="rect">
            <a:avLst/>
          </a:prstGeom>
        </p:spPr>
      </p:pic>
    </p:spTree>
    <p:extLst>
      <p:ext uri="{BB962C8B-B14F-4D97-AF65-F5344CB8AC3E}">
        <p14:creationId xmlns:p14="http://schemas.microsoft.com/office/powerpoint/2010/main" val="22303142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ABA805-7214-4085-8353-2F19B64A4FCA}"/>
              </a:ext>
            </a:extLst>
          </p:cNvPr>
          <p:cNvGraphicFramePr>
            <a:graphicFrameLocks noChangeAspect="1"/>
          </p:cNvGraphicFramePr>
          <p:nvPr userDrawn="1">
            <p:custDataLst>
              <p:tags r:id="rId1"/>
            </p:custDataLst>
            <p:extLst>
              <p:ext uri="{D42A27DB-BD31-4B8C-83A1-F6EECF244321}">
                <p14:modId xmlns:p14="http://schemas.microsoft.com/office/powerpoint/2010/main" val="2125652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3CABA805-7214-4085-8353-2F19B64A4F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079B19A9-3096-444F-B407-044F8E08ADB4}"/>
              </a:ext>
            </a:extLst>
          </p:cNvPr>
          <p:cNvSpPr>
            <a:spLocks noGrp="1"/>
          </p:cNvSpPr>
          <p:nvPr>
            <p:ph type="title"/>
          </p:nvPr>
        </p:nvSpPr>
        <p:spPr>
          <a:xfrm>
            <a:off x="838200" y="365125"/>
            <a:ext cx="10515600" cy="1325563"/>
          </a:xfrm>
        </p:spPr>
        <p:txBody>
          <a:bodyPr vert="horz"/>
          <a:lstStyle>
            <a:lvl1pPr rtl="0">
              <a:defRPr/>
            </a:lvl1pPr>
          </a:lstStyle>
          <a:p>
            <a:r>
              <a:rPr lang="en-GB"/>
              <a:t>Click to edit Master title style</a:t>
            </a:r>
            <a:endParaRPr lang="en-GB" dirty="0"/>
          </a:p>
        </p:txBody>
      </p:sp>
      <p:pic>
        <p:nvPicPr>
          <p:cNvPr id="10" name="Picture Placeholder 2">
            <a:extLst>
              <a:ext uri="{FF2B5EF4-FFF2-40B4-BE49-F238E27FC236}">
                <a16:creationId xmlns:a16="http://schemas.microsoft.com/office/drawing/2014/main" id="{9A7AF021-9805-4E42-8BDC-06C328AF1768}"/>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14844" b="14844"/>
          <a:stretch>
            <a:fillRect/>
          </a:stretch>
        </p:blipFill>
        <p:spPr>
          <a:xfrm>
            <a:off x="0" y="0"/>
            <a:ext cx="12192000" cy="6858000"/>
          </a:xfrm>
          <a:prstGeom prst="rect">
            <a:avLst/>
          </a:prstGeom>
        </p:spPr>
      </p:pic>
      <p:sp>
        <p:nvSpPr>
          <p:cNvPr id="11" name="Flowchart: Process 10">
            <a:extLst>
              <a:ext uri="{FF2B5EF4-FFF2-40B4-BE49-F238E27FC236}">
                <a16:creationId xmlns:a16="http://schemas.microsoft.com/office/drawing/2014/main" id="{BFF94355-E614-4629-AF61-E951EDA084F6}"/>
              </a:ext>
            </a:extLst>
          </p:cNvPr>
          <p:cNvSpPr/>
          <p:nvPr userDrawn="1"/>
        </p:nvSpPr>
        <p:spPr>
          <a:xfrm>
            <a:off x="16141" y="100"/>
            <a:ext cx="12191999" cy="6860017"/>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cxnSp>
        <p:nvCxnSpPr>
          <p:cNvPr id="15" name="Straight Connector 14">
            <a:extLst>
              <a:ext uri="{FF2B5EF4-FFF2-40B4-BE49-F238E27FC236}">
                <a16:creationId xmlns:a16="http://schemas.microsoft.com/office/drawing/2014/main" id="{C3B43775-7AFF-461C-A6B6-899FC6459BC0}"/>
              </a:ext>
            </a:extLst>
          </p:cNvPr>
          <p:cNvCxnSpPr>
            <a:cxnSpLocks/>
          </p:cNvCxnSpPr>
          <p:nvPr userDrawn="1"/>
        </p:nvCxnSpPr>
        <p:spPr>
          <a:xfrm flipV="1">
            <a:off x="839418" y="-4849619"/>
            <a:ext cx="0" cy="8145553"/>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
        <p:nvSpPr>
          <p:cNvPr id="18" name="Subtitle 2">
            <a:extLst>
              <a:ext uri="{FF2B5EF4-FFF2-40B4-BE49-F238E27FC236}">
                <a16:creationId xmlns:a16="http://schemas.microsoft.com/office/drawing/2014/main" id="{D1B6B3F2-3DE1-4D1B-81C9-97895B76395A}"/>
              </a:ext>
            </a:extLst>
          </p:cNvPr>
          <p:cNvSpPr>
            <a:spLocks noGrp="1"/>
          </p:cNvSpPr>
          <p:nvPr>
            <p:ph type="subTitle" idx="1"/>
          </p:nvPr>
        </p:nvSpPr>
        <p:spPr>
          <a:xfrm>
            <a:off x="2035705" y="4014843"/>
            <a:ext cx="8203672" cy="659777"/>
          </a:xfrm>
          <a:prstGeom prst="rect">
            <a:avLst/>
          </a:prstGeom>
        </p:spPr>
        <p:txBody>
          <a:bodyPr>
            <a:noAutofit/>
          </a:bodyPr>
          <a:lstStyle>
            <a:lvl1pPr marL="0" indent="0" algn="l" rtl="0">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pic>
        <p:nvPicPr>
          <p:cNvPr id="8" name="Picture 7">
            <a:extLst>
              <a:ext uri="{FF2B5EF4-FFF2-40B4-BE49-F238E27FC236}">
                <a16:creationId xmlns:a16="http://schemas.microsoft.com/office/drawing/2014/main" id="{F6E25DDC-5C46-4115-81BB-97D63FCAB5B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57673" y="6313020"/>
            <a:ext cx="923797" cy="358756"/>
          </a:xfrm>
          <a:prstGeom prst="rect">
            <a:avLst/>
          </a:prstGeom>
        </p:spPr>
      </p:pic>
      <p:sp>
        <p:nvSpPr>
          <p:cNvPr id="13" name="Flowchart: Document 18">
            <a:extLst>
              <a:ext uri="{FF2B5EF4-FFF2-40B4-BE49-F238E27FC236}">
                <a16:creationId xmlns:a16="http://schemas.microsoft.com/office/drawing/2014/main" id="{4ABD9531-BCBF-4FC7-B67F-5C57C9BB681B}"/>
              </a:ext>
            </a:extLst>
          </p:cNvPr>
          <p:cNvSpPr/>
          <p:nvPr userDrawn="1"/>
        </p:nvSpPr>
        <p:spPr>
          <a:xfrm rot="10800000">
            <a:off x="9223192" y="6232949"/>
            <a:ext cx="3719865" cy="94102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34127"/>
              <a:gd name="connsiteY0" fmla="*/ 0 h 21324"/>
              <a:gd name="connsiteX1" fmla="*/ 34127 w 34127"/>
              <a:gd name="connsiteY1" fmla="*/ 0 h 21324"/>
              <a:gd name="connsiteX2" fmla="*/ 21600 w 34127"/>
              <a:gd name="connsiteY2" fmla="*/ 17322 h 21324"/>
              <a:gd name="connsiteX3" fmla="*/ 0 w 34127"/>
              <a:gd name="connsiteY3" fmla="*/ 20172 h 21324"/>
              <a:gd name="connsiteX4" fmla="*/ 0 w 34127"/>
              <a:gd name="connsiteY4" fmla="*/ 0 h 21324"/>
              <a:gd name="connsiteX0" fmla="*/ 0 w 34127"/>
              <a:gd name="connsiteY0" fmla="*/ 0 h 20746"/>
              <a:gd name="connsiteX1" fmla="*/ 34127 w 34127"/>
              <a:gd name="connsiteY1" fmla="*/ 0 h 20746"/>
              <a:gd name="connsiteX2" fmla="*/ 28813 w 34127"/>
              <a:gd name="connsiteY2" fmla="*/ 8087 h 20746"/>
              <a:gd name="connsiteX3" fmla="*/ 0 w 34127"/>
              <a:gd name="connsiteY3" fmla="*/ 20172 h 20746"/>
              <a:gd name="connsiteX4" fmla="*/ 0 w 34127"/>
              <a:gd name="connsiteY4" fmla="*/ 0 h 20746"/>
              <a:gd name="connsiteX0" fmla="*/ 0 w 45263"/>
              <a:gd name="connsiteY0" fmla="*/ 13852 h 20746"/>
              <a:gd name="connsiteX1" fmla="*/ 45263 w 45263"/>
              <a:gd name="connsiteY1" fmla="*/ 0 h 20746"/>
              <a:gd name="connsiteX2" fmla="*/ 39949 w 45263"/>
              <a:gd name="connsiteY2" fmla="*/ 8087 h 20746"/>
              <a:gd name="connsiteX3" fmla="*/ 11136 w 45263"/>
              <a:gd name="connsiteY3" fmla="*/ 20172 h 20746"/>
              <a:gd name="connsiteX4" fmla="*/ 0 w 45263"/>
              <a:gd name="connsiteY4" fmla="*/ 13852 h 20746"/>
              <a:gd name="connsiteX0" fmla="*/ 0 w 39949"/>
              <a:gd name="connsiteY0" fmla="*/ 13250 h 20144"/>
              <a:gd name="connsiteX1" fmla="*/ 11224 w 39949"/>
              <a:gd name="connsiteY1" fmla="*/ 0 h 20144"/>
              <a:gd name="connsiteX2" fmla="*/ 39949 w 39949"/>
              <a:gd name="connsiteY2" fmla="*/ 7485 h 20144"/>
              <a:gd name="connsiteX3" fmla="*/ 11136 w 39949"/>
              <a:gd name="connsiteY3" fmla="*/ 19570 h 20144"/>
              <a:gd name="connsiteX4" fmla="*/ 0 w 39949"/>
              <a:gd name="connsiteY4" fmla="*/ 13250 h 20144"/>
              <a:gd name="connsiteX0" fmla="*/ 0 w 37039"/>
              <a:gd name="connsiteY0" fmla="*/ 15258 h 20144"/>
              <a:gd name="connsiteX1" fmla="*/ 8314 w 37039"/>
              <a:gd name="connsiteY1" fmla="*/ 0 h 20144"/>
              <a:gd name="connsiteX2" fmla="*/ 37039 w 37039"/>
              <a:gd name="connsiteY2" fmla="*/ 7485 h 20144"/>
              <a:gd name="connsiteX3" fmla="*/ 8226 w 37039"/>
              <a:gd name="connsiteY3" fmla="*/ 19570 h 20144"/>
              <a:gd name="connsiteX4" fmla="*/ 0 w 37039"/>
              <a:gd name="connsiteY4" fmla="*/ 15258 h 20144"/>
              <a:gd name="connsiteX0" fmla="*/ 0 w 37039"/>
              <a:gd name="connsiteY0" fmla="*/ 13250 h 18136"/>
              <a:gd name="connsiteX1" fmla="*/ 89 w 37039"/>
              <a:gd name="connsiteY1" fmla="*/ 0 h 18136"/>
              <a:gd name="connsiteX2" fmla="*/ 37039 w 37039"/>
              <a:gd name="connsiteY2" fmla="*/ 5477 h 18136"/>
              <a:gd name="connsiteX3" fmla="*/ 8226 w 37039"/>
              <a:gd name="connsiteY3" fmla="*/ 17562 h 18136"/>
              <a:gd name="connsiteX4" fmla="*/ 0 w 37039"/>
              <a:gd name="connsiteY4" fmla="*/ 13250 h 18136"/>
              <a:gd name="connsiteX0" fmla="*/ 0 w 37039"/>
              <a:gd name="connsiteY0" fmla="*/ 12447 h 17333"/>
              <a:gd name="connsiteX1" fmla="*/ 89 w 37039"/>
              <a:gd name="connsiteY1" fmla="*/ 0 h 17333"/>
              <a:gd name="connsiteX2" fmla="*/ 37039 w 37039"/>
              <a:gd name="connsiteY2" fmla="*/ 4674 h 17333"/>
              <a:gd name="connsiteX3" fmla="*/ 8226 w 37039"/>
              <a:gd name="connsiteY3" fmla="*/ 16759 h 17333"/>
              <a:gd name="connsiteX4" fmla="*/ 0 w 37039"/>
              <a:gd name="connsiteY4" fmla="*/ 12447 h 17333"/>
              <a:gd name="connsiteX0" fmla="*/ 0 w 37039"/>
              <a:gd name="connsiteY0" fmla="*/ 12447 h 16556"/>
              <a:gd name="connsiteX1" fmla="*/ 89 w 37039"/>
              <a:gd name="connsiteY1" fmla="*/ 0 h 16556"/>
              <a:gd name="connsiteX2" fmla="*/ 37039 w 37039"/>
              <a:gd name="connsiteY2" fmla="*/ 4674 h 16556"/>
              <a:gd name="connsiteX3" fmla="*/ 13035 w 37039"/>
              <a:gd name="connsiteY3" fmla="*/ 15956 h 16556"/>
              <a:gd name="connsiteX4" fmla="*/ 0 w 37039"/>
              <a:gd name="connsiteY4" fmla="*/ 12447 h 16556"/>
              <a:gd name="connsiteX0" fmla="*/ 0 w 37039"/>
              <a:gd name="connsiteY0" fmla="*/ 12447 h 16007"/>
              <a:gd name="connsiteX1" fmla="*/ 89 w 37039"/>
              <a:gd name="connsiteY1" fmla="*/ 0 h 16007"/>
              <a:gd name="connsiteX2" fmla="*/ 37039 w 37039"/>
              <a:gd name="connsiteY2" fmla="*/ 4674 h 16007"/>
              <a:gd name="connsiteX3" fmla="*/ 13035 w 37039"/>
              <a:gd name="connsiteY3" fmla="*/ 15956 h 16007"/>
              <a:gd name="connsiteX4" fmla="*/ 0 w 37039"/>
              <a:gd name="connsiteY4" fmla="*/ 12447 h 16007"/>
              <a:gd name="connsiteX0" fmla="*/ 44 w 36956"/>
              <a:gd name="connsiteY0" fmla="*/ 14856 h 16007"/>
              <a:gd name="connsiteX1" fmla="*/ 6 w 36956"/>
              <a:gd name="connsiteY1" fmla="*/ 0 h 16007"/>
              <a:gd name="connsiteX2" fmla="*/ 36956 w 36956"/>
              <a:gd name="connsiteY2" fmla="*/ 4674 h 16007"/>
              <a:gd name="connsiteX3" fmla="*/ 12952 w 36956"/>
              <a:gd name="connsiteY3" fmla="*/ 15956 h 16007"/>
              <a:gd name="connsiteX4" fmla="*/ 44 w 36956"/>
              <a:gd name="connsiteY4" fmla="*/ 14856 h 16007"/>
              <a:gd name="connsiteX0" fmla="*/ 44 w 36956"/>
              <a:gd name="connsiteY0" fmla="*/ 14856 h 15375"/>
              <a:gd name="connsiteX1" fmla="*/ 6 w 36956"/>
              <a:gd name="connsiteY1" fmla="*/ 0 h 15375"/>
              <a:gd name="connsiteX2" fmla="*/ 36956 w 36956"/>
              <a:gd name="connsiteY2" fmla="*/ 4674 h 15375"/>
              <a:gd name="connsiteX3" fmla="*/ 16719 w 36956"/>
              <a:gd name="connsiteY3" fmla="*/ 15321 h 15375"/>
              <a:gd name="connsiteX4" fmla="*/ 44 w 36956"/>
              <a:gd name="connsiteY4" fmla="*/ 14856 h 15375"/>
              <a:gd name="connsiteX0" fmla="*/ 44 w 36956"/>
              <a:gd name="connsiteY0" fmla="*/ 14856 h 15338"/>
              <a:gd name="connsiteX1" fmla="*/ 6 w 36956"/>
              <a:gd name="connsiteY1" fmla="*/ 0 h 15338"/>
              <a:gd name="connsiteX2" fmla="*/ 36956 w 36956"/>
              <a:gd name="connsiteY2" fmla="*/ 4674 h 15338"/>
              <a:gd name="connsiteX3" fmla="*/ 15424 w 36956"/>
              <a:gd name="connsiteY3" fmla="*/ 15284 h 15338"/>
              <a:gd name="connsiteX4" fmla="*/ 44 w 36956"/>
              <a:gd name="connsiteY4" fmla="*/ 14856 h 15338"/>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4981"/>
              <a:gd name="connsiteX1" fmla="*/ 6 w 36956"/>
              <a:gd name="connsiteY1" fmla="*/ 0 h 14981"/>
              <a:gd name="connsiteX2" fmla="*/ 36956 w 36956"/>
              <a:gd name="connsiteY2" fmla="*/ 4674 h 14981"/>
              <a:gd name="connsiteX3" fmla="*/ 16837 w 36956"/>
              <a:gd name="connsiteY3" fmla="*/ 14649 h 14981"/>
              <a:gd name="connsiteX4" fmla="*/ 44 w 36956"/>
              <a:gd name="connsiteY4" fmla="*/ 14856 h 14981"/>
              <a:gd name="connsiteX0" fmla="*/ 44 w 36956"/>
              <a:gd name="connsiteY0" fmla="*/ 14856 h 15200"/>
              <a:gd name="connsiteX1" fmla="*/ 6 w 36956"/>
              <a:gd name="connsiteY1" fmla="*/ 0 h 15200"/>
              <a:gd name="connsiteX2" fmla="*/ 36956 w 36956"/>
              <a:gd name="connsiteY2" fmla="*/ 4674 h 15200"/>
              <a:gd name="connsiteX3" fmla="*/ 16107 w 36956"/>
              <a:gd name="connsiteY3" fmla="*/ 14873 h 15200"/>
              <a:gd name="connsiteX4" fmla="*/ 44 w 36956"/>
              <a:gd name="connsiteY4" fmla="*/ 14856 h 15200"/>
              <a:gd name="connsiteX0" fmla="*/ 44 w 36956"/>
              <a:gd name="connsiteY0" fmla="*/ 14856 h 14875"/>
              <a:gd name="connsiteX1" fmla="*/ 6 w 36956"/>
              <a:gd name="connsiteY1" fmla="*/ 0 h 14875"/>
              <a:gd name="connsiteX2" fmla="*/ 36956 w 36956"/>
              <a:gd name="connsiteY2" fmla="*/ 4674 h 14875"/>
              <a:gd name="connsiteX3" fmla="*/ 16107 w 36956"/>
              <a:gd name="connsiteY3" fmla="*/ 14873 h 14875"/>
              <a:gd name="connsiteX4" fmla="*/ 44 w 36956"/>
              <a:gd name="connsiteY4" fmla="*/ 1485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4" h="14875">
                <a:moveTo>
                  <a:pt x="0" y="12206"/>
                </a:moveTo>
                <a:cubicBezTo>
                  <a:pt x="30" y="7789"/>
                  <a:pt x="84" y="4417"/>
                  <a:pt x="114" y="0"/>
                </a:cubicBezTo>
                <a:cubicBezTo>
                  <a:pt x="114" y="5774"/>
                  <a:pt x="37064" y="-1100"/>
                  <a:pt x="37064" y="4674"/>
                </a:cubicBezTo>
                <a:cubicBezTo>
                  <a:pt x="28542" y="4915"/>
                  <a:pt x="29419" y="15052"/>
                  <a:pt x="16215" y="14873"/>
                </a:cubicBezTo>
                <a:cubicBezTo>
                  <a:pt x="4653" y="14108"/>
                  <a:pt x="3457" y="10582"/>
                  <a:pt x="0" y="1220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4" name="Picture 13">
            <a:extLst>
              <a:ext uri="{FF2B5EF4-FFF2-40B4-BE49-F238E27FC236}">
                <a16:creationId xmlns:a16="http://schemas.microsoft.com/office/drawing/2014/main" id="{74112AA1-7E75-44FA-A06C-1663A095608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575233" y="6313020"/>
            <a:ext cx="1432463" cy="376058"/>
          </a:xfrm>
          <a:prstGeom prst="rect">
            <a:avLst/>
          </a:prstGeom>
        </p:spPr>
      </p:pic>
    </p:spTree>
    <p:extLst>
      <p:ext uri="{BB962C8B-B14F-4D97-AF65-F5344CB8AC3E}">
        <p14:creationId xmlns:p14="http://schemas.microsoft.com/office/powerpoint/2010/main" val="1503126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hapter Sli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6B8427-0F93-4274-9627-1B105E7D0A08}"/>
              </a:ext>
            </a:extLst>
          </p:cNvPr>
          <p:cNvGraphicFramePr>
            <a:graphicFrameLocks noChangeAspect="1"/>
          </p:cNvGraphicFramePr>
          <p:nvPr userDrawn="1">
            <p:custDataLst>
              <p:tags r:id="rId1"/>
            </p:custDataLst>
            <p:extLst>
              <p:ext uri="{D42A27DB-BD31-4B8C-83A1-F6EECF244321}">
                <p14:modId xmlns:p14="http://schemas.microsoft.com/office/powerpoint/2010/main" val="236122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596B8427-0F93-4274-9627-1B105E7D0A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079B19A9-3096-444F-B407-044F8E08ADB4}"/>
              </a:ext>
            </a:extLst>
          </p:cNvPr>
          <p:cNvSpPr>
            <a:spLocks noGrp="1"/>
          </p:cNvSpPr>
          <p:nvPr>
            <p:ph type="title"/>
          </p:nvPr>
        </p:nvSpPr>
        <p:spPr>
          <a:xfrm>
            <a:off x="838200" y="365125"/>
            <a:ext cx="10515600" cy="1325563"/>
          </a:xfrm>
        </p:spPr>
        <p:txBody>
          <a:bodyPr vert="horz"/>
          <a:lstStyle>
            <a:lvl1pPr rtl="0">
              <a:defRPr/>
            </a:lvl1pPr>
          </a:lstStyle>
          <a:p>
            <a:r>
              <a:rPr lang="en-GB"/>
              <a:t>Click to edit Master title style</a:t>
            </a:r>
            <a:endParaRPr lang="en-GB" dirty="0"/>
          </a:p>
        </p:txBody>
      </p:sp>
      <p:pic>
        <p:nvPicPr>
          <p:cNvPr id="10" name="Picture Placeholder 2">
            <a:extLst>
              <a:ext uri="{FF2B5EF4-FFF2-40B4-BE49-F238E27FC236}">
                <a16:creationId xmlns:a16="http://schemas.microsoft.com/office/drawing/2014/main" id="{9A7AF021-9805-4E42-8BDC-06C328AF1768}"/>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14844" b="14844"/>
          <a:stretch>
            <a:fillRect/>
          </a:stretch>
        </p:blipFill>
        <p:spPr>
          <a:xfrm>
            <a:off x="0" y="0"/>
            <a:ext cx="12192000" cy="6858000"/>
          </a:xfrm>
          <a:prstGeom prst="rect">
            <a:avLst/>
          </a:prstGeom>
        </p:spPr>
      </p:pic>
      <p:sp>
        <p:nvSpPr>
          <p:cNvPr id="11" name="Flowchart: Process 10">
            <a:extLst>
              <a:ext uri="{FF2B5EF4-FFF2-40B4-BE49-F238E27FC236}">
                <a16:creationId xmlns:a16="http://schemas.microsoft.com/office/drawing/2014/main" id="{BFF94355-E614-4629-AF61-E951EDA084F6}"/>
              </a:ext>
            </a:extLst>
          </p:cNvPr>
          <p:cNvSpPr/>
          <p:nvPr userDrawn="1"/>
        </p:nvSpPr>
        <p:spPr>
          <a:xfrm>
            <a:off x="1" y="5146"/>
            <a:ext cx="12191999" cy="6860017"/>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cxnSp>
        <p:nvCxnSpPr>
          <p:cNvPr id="15" name="Straight Connector 14">
            <a:extLst>
              <a:ext uri="{FF2B5EF4-FFF2-40B4-BE49-F238E27FC236}">
                <a16:creationId xmlns:a16="http://schemas.microsoft.com/office/drawing/2014/main" id="{C3B43775-7AFF-461C-A6B6-899FC6459BC0}"/>
              </a:ext>
            </a:extLst>
          </p:cNvPr>
          <p:cNvCxnSpPr>
            <a:cxnSpLocks/>
          </p:cNvCxnSpPr>
          <p:nvPr userDrawn="1"/>
        </p:nvCxnSpPr>
        <p:spPr>
          <a:xfrm flipV="1">
            <a:off x="839418" y="-4849619"/>
            <a:ext cx="0" cy="8145553"/>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pic>
        <p:nvPicPr>
          <p:cNvPr id="7" name="Picture 6">
            <a:extLst>
              <a:ext uri="{FF2B5EF4-FFF2-40B4-BE49-F238E27FC236}">
                <a16:creationId xmlns:a16="http://schemas.microsoft.com/office/drawing/2014/main" id="{E1C652EE-AF8F-403D-92FB-061C0471491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257673" y="6313020"/>
            <a:ext cx="923797" cy="358756"/>
          </a:xfrm>
          <a:prstGeom prst="rect">
            <a:avLst/>
          </a:prstGeom>
        </p:spPr>
      </p:pic>
      <p:sp>
        <p:nvSpPr>
          <p:cNvPr id="8" name="Flowchart: Document 18">
            <a:extLst>
              <a:ext uri="{FF2B5EF4-FFF2-40B4-BE49-F238E27FC236}">
                <a16:creationId xmlns:a16="http://schemas.microsoft.com/office/drawing/2014/main" id="{3F364E72-3576-4068-95D3-8E162BEE7DA6}"/>
              </a:ext>
            </a:extLst>
          </p:cNvPr>
          <p:cNvSpPr/>
          <p:nvPr userDrawn="1"/>
        </p:nvSpPr>
        <p:spPr>
          <a:xfrm rot="10800000">
            <a:off x="9223192" y="6232949"/>
            <a:ext cx="3719865" cy="94102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34127"/>
              <a:gd name="connsiteY0" fmla="*/ 0 h 21324"/>
              <a:gd name="connsiteX1" fmla="*/ 34127 w 34127"/>
              <a:gd name="connsiteY1" fmla="*/ 0 h 21324"/>
              <a:gd name="connsiteX2" fmla="*/ 21600 w 34127"/>
              <a:gd name="connsiteY2" fmla="*/ 17322 h 21324"/>
              <a:gd name="connsiteX3" fmla="*/ 0 w 34127"/>
              <a:gd name="connsiteY3" fmla="*/ 20172 h 21324"/>
              <a:gd name="connsiteX4" fmla="*/ 0 w 34127"/>
              <a:gd name="connsiteY4" fmla="*/ 0 h 21324"/>
              <a:gd name="connsiteX0" fmla="*/ 0 w 34127"/>
              <a:gd name="connsiteY0" fmla="*/ 0 h 20746"/>
              <a:gd name="connsiteX1" fmla="*/ 34127 w 34127"/>
              <a:gd name="connsiteY1" fmla="*/ 0 h 20746"/>
              <a:gd name="connsiteX2" fmla="*/ 28813 w 34127"/>
              <a:gd name="connsiteY2" fmla="*/ 8087 h 20746"/>
              <a:gd name="connsiteX3" fmla="*/ 0 w 34127"/>
              <a:gd name="connsiteY3" fmla="*/ 20172 h 20746"/>
              <a:gd name="connsiteX4" fmla="*/ 0 w 34127"/>
              <a:gd name="connsiteY4" fmla="*/ 0 h 20746"/>
              <a:gd name="connsiteX0" fmla="*/ 0 w 45263"/>
              <a:gd name="connsiteY0" fmla="*/ 13852 h 20746"/>
              <a:gd name="connsiteX1" fmla="*/ 45263 w 45263"/>
              <a:gd name="connsiteY1" fmla="*/ 0 h 20746"/>
              <a:gd name="connsiteX2" fmla="*/ 39949 w 45263"/>
              <a:gd name="connsiteY2" fmla="*/ 8087 h 20746"/>
              <a:gd name="connsiteX3" fmla="*/ 11136 w 45263"/>
              <a:gd name="connsiteY3" fmla="*/ 20172 h 20746"/>
              <a:gd name="connsiteX4" fmla="*/ 0 w 45263"/>
              <a:gd name="connsiteY4" fmla="*/ 13852 h 20746"/>
              <a:gd name="connsiteX0" fmla="*/ 0 w 39949"/>
              <a:gd name="connsiteY0" fmla="*/ 13250 h 20144"/>
              <a:gd name="connsiteX1" fmla="*/ 11224 w 39949"/>
              <a:gd name="connsiteY1" fmla="*/ 0 h 20144"/>
              <a:gd name="connsiteX2" fmla="*/ 39949 w 39949"/>
              <a:gd name="connsiteY2" fmla="*/ 7485 h 20144"/>
              <a:gd name="connsiteX3" fmla="*/ 11136 w 39949"/>
              <a:gd name="connsiteY3" fmla="*/ 19570 h 20144"/>
              <a:gd name="connsiteX4" fmla="*/ 0 w 39949"/>
              <a:gd name="connsiteY4" fmla="*/ 13250 h 20144"/>
              <a:gd name="connsiteX0" fmla="*/ 0 w 37039"/>
              <a:gd name="connsiteY0" fmla="*/ 15258 h 20144"/>
              <a:gd name="connsiteX1" fmla="*/ 8314 w 37039"/>
              <a:gd name="connsiteY1" fmla="*/ 0 h 20144"/>
              <a:gd name="connsiteX2" fmla="*/ 37039 w 37039"/>
              <a:gd name="connsiteY2" fmla="*/ 7485 h 20144"/>
              <a:gd name="connsiteX3" fmla="*/ 8226 w 37039"/>
              <a:gd name="connsiteY3" fmla="*/ 19570 h 20144"/>
              <a:gd name="connsiteX4" fmla="*/ 0 w 37039"/>
              <a:gd name="connsiteY4" fmla="*/ 15258 h 20144"/>
              <a:gd name="connsiteX0" fmla="*/ 0 w 37039"/>
              <a:gd name="connsiteY0" fmla="*/ 13250 h 18136"/>
              <a:gd name="connsiteX1" fmla="*/ 89 w 37039"/>
              <a:gd name="connsiteY1" fmla="*/ 0 h 18136"/>
              <a:gd name="connsiteX2" fmla="*/ 37039 w 37039"/>
              <a:gd name="connsiteY2" fmla="*/ 5477 h 18136"/>
              <a:gd name="connsiteX3" fmla="*/ 8226 w 37039"/>
              <a:gd name="connsiteY3" fmla="*/ 17562 h 18136"/>
              <a:gd name="connsiteX4" fmla="*/ 0 w 37039"/>
              <a:gd name="connsiteY4" fmla="*/ 13250 h 18136"/>
              <a:gd name="connsiteX0" fmla="*/ 0 w 37039"/>
              <a:gd name="connsiteY0" fmla="*/ 12447 h 17333"/>
              <a:gd name="connsiteX1" fmla="*/ 89 w 37039"/>
              <a:gd name="connsiteY1" fmla="*/ 0 h 17333"/>
              <a:gd name="connsiteX2" fmla="*/ 37039 w 37039"/>
              <a:gd name="connsiteY2" fmla="*/ 4674 h 17333"/>
              <a:gd name="connsiteX3" fmla="*/ 8226 w 37039"/>
              <a:gd name="connsiteY3" fmla="*/ 16759 h 17333"/>
              <a:gd name="connsiteX4" fmla="*/ 0 w 37039"/>
              <a:gd name="connsiteY4" fmla="*/ 12447 h 17333"/>
              <a:gd name="connsiteX0" fmla="*/ 0 w 37039"/>
              <a:gd name="connsiteY0" fmla="*/ 12447 h 16556"/>
              <a:gd name="connsiteX1" fmla="*/ 89 w 37039"/>
              <a:gd name="connsiteY1" fmla="*/ 0 h 16556"/>
              <a:gd name="connsiteX2" fmla="*/ 37039 w 37039"/>
              <a:gd name="connsiteY2" fmla="*/ 4674 h 16556"/>
              <a:gd name="connsiteX3" fmla="*/ 13035 w 37039"/>
              <a:gd name="connsiteY3" fmla="*/ 15956 h 16556"/>
              <a:gd name="connsiteX4" fmla="*/ 0 w 37039"/>
              <a:gd name="connsiteY4" fmla="*/ 12447 h 16556"/>
              <a:gd name="connsiteX0" fmla="*/ 0 w 37039"/>
              <a:gd name="connsiteY0" fmla="*/ 12447 h 16007"/>
              <a:gd name="connsiteX1" fmla="*/ 89 w 37039"/>
              <a:gd name="connsiteY1" fmla="*/ 0 h 16007"/>
              <a:gd name="connsiteX2" fmla="*/ 37039 w 37039"/>
              <a:gd name="connsiteY2" fmla="*/ 4674 h 16007"/>
              <a:gd name="connsiteX3" fmla="*/ 13035 w 37039"/>
              <a:gd name="connsiteY3" fmla="*/ 15956 h 16007"/>
              <a:gd name="connsiteX4" fmla="*/ 0 w 37039"/>
              <a:gd name="connsiteY4" fmla="*/ 12447 h 16007"/>
              <a:gd name="connsiteX0" fmla="*/ 44 w 36956"/>
              <a:gd name="connsiteY0" fmla="*/ 14856 h 16007"/>
              <a:gd name="connsiteX1" fmla="*/ 6 w 36956"/>
              <a:gd name="connsiteY1" fmla="*/ 0 h 16007"/>
              <a:gd name="connsiteX2" fmla="*/ 36956 w 36956"/>
              <a:gd name="connsiteY2" fmla="*/ 4674 h 16007"/>
              <a:gd name="connsiteX3" fmla="*/ 12952 w 36956"/>
              <a:gd name="connsiteY3" fmla="*/ 15956 h 16007"/>
              <a:gd name="connsiteX4" fmla="*/ 44 w 36956"/>
              <a:gd name="connsiteY4" fmla="*/ 14856 h 16007"/>
              <a:gd name="connsiteX0" fmla="*/ 44 w 36956"/>
              <a:gd name="connsiteY0" fmla="*/ 14856 h 15375"/>
              <a:gd name="connsiteX1" fmla="*/ 6 w 36956"/>
              <a:gd name="connsiteY1" fmla="*/ 0 h 15375"/>
              <a:gd name="connsiteX2" fmla="*/ 36956 w 36956"/>
              <a:gd name="connsiteY2" fmla="*/ 4674 h 15375"/>
              <a:gd name="connsiteX3" fmla="*/ 16719 w 36956"/>
              <a:gd name="connsiteY3" fmla="*/ 15321 h 15375"/>
              <a:gd name="connsiteX4" fmla="*/ 44 w 36956"/>
              <a:gd name="connsiteY4" fmla="*/ 14856 h 15375"/>
              <a:gd name="connsiteX0" fmla="*/ 44 w 36956"/>
              <a:gd name="connsiteY0" fmla="*/ 14856 h 15338"/>
              <a:gd name="connsiteX1" fmla="*/ 6 w 36956"/>
              <a:gd name="connsiteY1" fmla="*/ 0 h 15338"/>
              <a:gd name="connsiteX2" fmla="*/ 36956 w 36956"/>
              <a:gd name="connsiteY2" fmla="*/ 4674 h 15338"/>
              <a:gd name="connsiteX3" fmla="*/ 15424 w 36956"/>
              <a:gd name="connsiteY3" fmla="*/ 15284 h 15338"/>
              <a:gd name="connsiteX4" fmla="*/ 44 w 36956"/>
              <a:gd name="connsiteY4" fmla="*/ 14856 h 15338"/>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4981"/>
              <a:gd name="connsiteX1" fmla="*/ 6 w 36956"/>
              <a:gd name="connsiteY1" fmla="*/ 0 h 14981"/>
              <a:gd name="connsiteX2" fmla="*/ 36956 w 36956"/>
              <a:gd name="connsiteY2" fmla="*/ 4674 h 14981"/>
              <a:gd name="connsiteX3" fmla="*/ 16837 w 36956"/>
              <a:gd name="connsiteY3" fmla="*/ 14649 h 14981"/>
              <a:gd name="connsiteX4" fmla="*/ 44 w 36956"/>
              <a:gd name="connsiteY4" fmla="*/ 14856 h 14981"/>
              <a:gd name="connsiteX0" fmla="*/ 44 w 36956"/>
              <a:gd name="connsiteY0" fmla="*/ 14856 h 15200"/>
              <a:gd name="connsiteX1" fmla="*/ 6 w 36956"/>
              <a:gd name="connsiteY1" fmla="*/ 0 h 15200"/>
              <a:gd name="connsiteX2" fmla="*/ 36956 w 36956"/>
              <a:gd name="connsiteY2" fmla="*/ 4674 h 15200"/>
              <a:gd name="connsiteX3" fmla="*/ 16107 w 36956"/>
              <a:gd name="connsiteY3" fmla="*/ 14873 h 15200"/>
              <a:gd name="connsiteX4" fmla="*/ 44 w 36956"/>
              <a:gd name="connsiteY4" fmla="*/ 14856 h 15200"/>
              <a:gd name="connsiteX0" fmla="*/ 44 w 36956"/>
              <a:gd name="connsiteY0" fmla="*/ 14856 h 14875"/>
              <a:gd name="connsiteX1" fmla="*/ 6 w 36956"/>
              <a:gd name="connsiteY1" fmla="*/ 0 h 14875"/>
              <a:gd name="connsiteX2" fmla="*/ 36956 w 36956"/>
              <a:gd name="connsiteY2" fmla="*/ 4674 h 14875"/>
              <a:gd name="connsiteX3" fmla="*/ 16107 w 36956"/>
              <a:gd name="connsiteY3" fmla="*/ 14873 h 14875"/>
              <a:gd name="connsiteX4" fmla="*/ 44 w 36956"/>
              <a:gd name="connsiteY4" fmla="*/ 1485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4" h="14875">
                <a:moveTo>
                  <a:pt x="0" y="12206"/>
                </a:moveTo>
                <a:cubicBezTo>
                  <a:pt x="30" y="7789"/>
                  <a:pt x="84" y="4417"/>
                  <a:pt x="114" y="0"/>
                </a:cubicBezTo>
                <a:cubicBezTo>
                  <a:pt x="114" y="5774"/>
                  <a:pt x="37064" y="-1100"/>
                  <a:pt x="37064" y="4674"/>
                </a:cubicBezTo>
                <a:cubicBezTo>
                  <a:pt x="28542" y="4915"/>
                  <a:pt x="29419" y="15052"/>
                  <a:pt x="16215" y="14873"/>
                </a:cubicBezTo>
                <a:cubicBezTo>
                  <a:pt x="4653" y="14108"/>
                  <a:pt x="3457" y="10582"/>
                  <a:pt x="0" y="1220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3" name="Picture 12">
            <a:extLst>
              <a:ext uri="{FF2B5EF4-FFF2-40B4-BE49-F238E27FC236}">
                <a16:creationId xmlns:a16="http://schemas.microsoft.com/office/drawing/2014/main" id="{67D7B01C-B6E1-4EDD-8A05-31AF0E53D1B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575233" y="6313020"/>
            <a:ext cx="1432463" cy="376058"/>
          </a:xfrm>
          <a:prstGeom prst="rect">
            <a:avLst/>
          </a:prstGeom>
        </p:spPr>
      </p:pic>
    </p:spTree>
    <p:extLst>
      <p:ext uri="{BB962C8B-B14F-4D97-AF65-F5344CB8AC3E}">
        <p14:creationId xmlns:p14="http://schemas.microsoft.com/office/powerpoint/2010/main" val="934549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0260829-B548-4CB0-A02B-91E718D06200}"/>
              </a:ext>
            </a:extLst>
          </p:cNvPr>
          <p:cNvGraphicFramePr>
            <a:graphicFrameLocks noChangeAspect="1"/>
          </p:cNvGraphicFramePr>
          <p:nvPr userDrawn="1">
            <p:custDataLst>
              <p:tags r:id="rId1"/>
            </p:custDataLst>
            <p:extLst>
              <p:ext uri="{D42A27DB-BD31-4B8C-83A1-F6EECF244321}">
                <p14:modId xmlns:p14="http://schemas.microsoft.com/office/powerpoint/2010/main" val="3418832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E0260829-B548-4CB0-A02B-91E718D062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ctrTitle"/>
          </p:nvPr>
        </p:nvSpPr>
        <p:spPr>
          <a:xfrm>
            <a:off x="1077013" y="1122363"/>
            <a:ext cx="10156297" cy="1240348"/>
          </a:xfrm>
        </p:spPr>
        <p:txBody>
          <a:bodyPr vert="horz" anchor="b">
            <a:noAutofit/>
          </a:bodyPr>
          <a:lstStyle>
            <a:lvl1pPr algn="l" rtl="0">
              <a:defRPr sz="6000">
                <a:solidFill>
                  <a:schemeClr val="tx2">
                    <a:lumMod val="50000"/>
                  </a:schemeClr>
                </a:solidFill>
              </a:defRPr>
            </a:lvl1pPr>
          </a:lstStyle>
          <a:p>
            <a:r>
              <a:rPr lang="en-GB"/>
              <a:t>Click to edit Master title style</a:t>
            </a:r>
            <a:endParaRPr lang="en-GB" dirty="0"/>
          </a:p>
        </p:txBody>
      </p:sp>
      <p:sp>
        <p:nvSpPr>
          <p:cNvPr id="14" name="Subtitle 2"/>
          <p:cNvSpPr>
            <a:spLocks noGrp="1"/>
          </p:cNvSpPr>
          <p:nvPr>
            <p:ph type="subTitle" idx="1"/>
          </p:nvPr>
        </p:nvSpPr>
        <p:spPr>
          <a:xfrm>
            <a:off x="838200" y="4160826"/>
            <a:ext cx="10889439" cy="1620145"/>
          </a:xfrm>
          <a:prstGeom prst="rect">
            <a:avLst/>
          </a:prstGeom>
        </p:spPr>
        <p:txBody>
          <a:bodyPr>
            <a:noAutofit/>
          </a:bodyPr>
          <a:lstStyle>
            <a:lvl1pPr marL="0" indent="0" algn="l" rtl="0">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pic>
        <p:nvPicPr>
          <p:cNvPr id="7" name="Picture Placeholder 2">
            <a:extLst>
              <a:ext uri="{FF2B5EF4-FFF2-40B4-BE49-F238E27FC236}">
                <a16:creationId xmlns:a16="http://schemas.microsoft.com/office/drawing/2014/main" id="{3481A969-4C64-4501-8FDD-4AAE3E24D66D}"/>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20332" b="20332"/>
          <a:stretch>
            <a:fillRect/>
          </a:stretch>
        </p:blipFill>
        <p:spPr>
          <a:xfrm>
            <a:off x="0" y="-19050"/>
            <a:ext cx="12192000" cy="900752"/>
          </a:xfrm>
          <a:prstGeom prst="rect">
            <a:avLst/>
          </a:prstGeom>
        </p:spPr>
      </p:pic>
      <p:sp>
        <p:nvSpPr>
          <p:cNvPr id="9" name="Flowchart: Process 8">
            <a:extLst>
              <a:ext uri="{FF2B5EF4-FFF2-40B4-BE49-F238E27FC236}">
                <a16:creationId xmlns:a16="http://schemas.microsoft.com/office/drawing/2014/main" id="{230C1E6B-E907-4FAC-9BDA-5645ABA5A474}"/>
              </a:ext>
            </a:extLst>
          </p:cNvPr>
          <p:cNvSpPr/>
          <p:nvPr userDrawn="1"/>
        </p:nvSpPr>
        <p:spPr>
          <a:xfrm>
            <a:off x="0" y="-9525"/>
            <a:ext cx="12191999" cy="881701"/>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cxnSp>
        <p:nvCxnSpPr>
          <p:cNvPr id="10" name="Straight Connector 9">
            <a:extLst>
              <a:ext uri="{FF2B5EF4-FFF2-40B4-BE49-F238E27FC236}">
                <a16:creationId xmlns:a16="http://schemas.microsoft.com/office/drawing/2014/main" id="{B78107CE-71B9-4C49-8E6A-0E46E569A4A3}"/>
              </a:ext>
            </a:extLst>
          </p:cNvPr>
          <p:cNvCxnSpPr>
            <a:cxnSpLocks/>
          </p:cNvCxnSpPr>
          <p:nvPr userDrawn="1"/>
        </p:nvCxnSpPr>
        <p:spPr>
          <a:xfrm>
            <a:off x="838200" y="0"/>
            <a:ext cx="0" cy="2362711"/>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16996710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Last slide (option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382A8E7-9BFD-4162-A3E5-96EDD19C7251}"/>
              </a:ext>
            </a:extLst>
          </p:cNvPr>
          <p:cNvGraphicFramePr>
            <a:graphicFrameLocks noChangeAspect="1"/>
          </p:cNvGraphicFramePr>
          <p:nvPr userDrawn="1">
            <p:custDataLst>
              <p:tags r:id="rId1"/>
            </p:custDataLst>
            <p:extLst>
              <p:ext uri="{D42A27DB-BD31-4B8C-83A1-F6EECF244321}">
                <p14:modId xmlns:p14="http://schemas.microsoft.com/office/powerpoint/2010/main" val="1316753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0382A8E7-9BFD-4162-A3E5-96EDD19C72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Subtitle 2"/>
          <p:cNvSpPr>
            <a:spLocks noGrp="1"/>
          </p:cNvSpPr>
          <p:nvPr>
            <p:ph type="subTitle" idx="1"/>
          </p:nvPr>
        </p:nvSpPr>
        <p:spPr>
          <a:xfrm>
            <a:off x="838200" y="4160826"/>
            <a:ext cx="10889439" cy="1620145"/>
          </a:xfrm>
          <a:prstGeom prst="rect">
            <a:avLst/>
          </a:prstGeom>
        </p:spPr>
        <p:txBody>
          <a:bodyPr>
            <a:noAutofit/>
          </a:bodyPr>
          <a:lstStyle>
            <a:lvl1pPr marL="0" indent="0" algn="l" rtl="0">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pic>
        <p:nvPicPr>
          <p:cNvPr id="12" name="Picture Placeholder 2">
            <a:extLst>
              <a:ext uri="{FF2B5EF4-FFF2-40B4-BE49-F238E27FC236}">
                <a16:creationId xmlns:a16="http://schemas.microsoft.com/office/drawing/2014/main" id="{0B62146D-3E7A-46FB-9F1A-D73EA7A6D110}"/>
              </a:ext>
            </a:extLst>
          </p:cNvPr>
          <p:cNvPicPr>
            <a:picLocks noChangeAspect="1"/>
          </p:cNvPicPr>
          <p:nvPr userDrawn="1"/>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t="20332" b="20332"/>
          <a:stretch>
            <a:fillRect/>
          </a:stretch>
        </p:blipFill>
        <p:spPr>
          <a:xfrm>
            <a:off x="0" y="0"/>
            <a:ext cx="12192000" cy="3449850"/>
          </a:xfrm>
          <a:prstGeom prst="rect">
            <a:avLst/>
          </a:prstGeom>
        </p:spPr>
      </p:pic>
      <p:sp>
        <p:nvSpPr>
          <p:cNvPr id="17" name="Flowchart: Process 16">
            <a:extLst>
              <a:ext uri="{FF2B5EF4-FFF2-40B4-BE49-F238E27FC236}">
                <a16:creationId xmlns:a16="http://schemas.microsoft.com/office/drawing/2014/main" id="{BC11DE1A-654C-4926-B2C2-B4173EFAF2B7}"/>
              </a:ext>
            </a:extLst>
          </p:cNvPr>
          <p:cNvSpPr/>
          <p:nvPr userDrawn="1"/>
        </p:nvSpPr>
        <p:spPr>
          <a:xfrm>
            <a:off x="0" y="0"/>
            <a:ext cx="12191999" cy="3449850"/>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rtl="0"/>
            <a:endParaRPr lang="en-GB" dirty="0"/>
          </a:p>
        </p:txBody>
      </p:sp>
      <p:sp>
        <p:nvSpPr>
          <p:cNvPr id="18" name="Title 1">
            <a:extLst>
              <a:ext uri="{FF2B5EF4-FFF2-40B4-BE49-F238E27FC236}">
                <a16:creationId xmlns:a16="http://schemas.microsoft.com/office/drawing/2014/main" id="{35EFF864-F3F9-4A9D-973D-C70D179A6C9D}"/>
              </a:ext>
            </a:extLst>
          </p:cNvPr>
          <p:cNvSpPr>
            <a:spLocks noGrp="1"/>
          </p:cNvSpPr>
          <p:nvPr>
            <p:ph type="ctrTitle"/>
          </p:nvPr>
        </p:nvSpPr>
        <p:spPr>
          <a:xfrm>
            <a:off x="1077013" y="1122363"/>
            <a:ext cx="10156297" cy="1240348"/>
          </a:xfrm>
        </p:spPr>
        <p:txBody>
          <a:bodyPr vert="horz" anchor="b">
            <a:noAutofit/>
          </a:bodyPr>
          <a:lstStyle>
            <a:lvl1pPr algn="l" rtl="0">
              <a:defRPr sz="6000">
                <a:solidFill>
                  <a:schemeClr val="bg1"/>
                </a:solidFill>
              </a:defRPr>
            </a:lvl1pPr>
          </a:lstStyle>
          <a:p>
            <a:r>
              <a:rPr lang="en-GB"/>
              <a:t>Click to edit Master title style</a:t>
            </a:r>
            <a:endParaRPr lang="en-GB" dirty="0"/>
          </a:p>
        </p:txBody>
      </p:sp>
      <p:cxnSp>
        <p:nvCxnSpPr>
          <p:cNvPr id="19" name="Straight Connector 18">
            <a:extLst>
              <a:ext uri="{FF2B5EF4-FFF2-40B4-BE49-F238E27FC236}">
                <a16:creationId xmlns:a16="http://schemas.microsoft.com/office/drawing/2014/main" id="{3D702B78-88D9-430F-BFC8-5BAEACF61AB4}"/>
              </a:ext>
            </a:extLst>
          </p:cNvPr>
          <p:cNvCxnSpPr>
            <a:cxnSpLocks/>
          </p:cNvCxnSpPr>
          <p:nvPr userDrawn="1"/>
        </p:nvCxnSpPr>
        <p:spPr>
          <a:xfrm>
            <a:off x="838200" y="0"/>
            <a:ext cx="0" cy="2362711"/>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36357695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F98360-A106-4DF4-A131-B04E460D45A3}"/>
              </a:ext>
            </a:extLst>
          </p:cNvPr>
          <p:cNvGraphicFramePr>
            <a:graphicFrameLocks noChangeAspect="1"/>
          </p:cNvGraphicFramePr>
          <p:nvPr userDrawn="1">
            <p:custDataLst>
              <p:tags r:id="rId1"/>
            </p:custDataLst>
            <p:extLst>
              <p:ext uri="{D42A27DB-BD31-4B8C-83A1-F6EECF244321}">
                <p14:modId xmlns:p14="http://schemas.microsoft.com/office/powerpoint/2010/main" val="140586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9EF98360-A106-4DF4-A131-B04E460D45A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838199" y="1825625"/>
            <a:ext cx="10905699" cy="3881904"/>
          </a:xfrm>
          <a:prstGeom prst="rect">
            <a:avLst/>
          </a:prstGeom>
        </p:spPr>
        <p:txBody>
          <a:bodyPr>
            <a:noAutofit/>
          </a:bodyPr>
          <a:lstStyle>
            <a:lvl1pPr rtl="0">
              <a:lnSpc>
                <a:spcPct val="100000"/>
              </a:lnSpc>
              <a:spcBef>
                <a:spcPts val="0"/>
              </a:spcBef>
              <a:spcAft>
                <a:spcPts val="1800"/>
              </a:spcAft>
              <a:defRPr/>
            </a:lvl1pPr>
            <a:lvl2pPr rtl="0">
              <a:lnSpc>
                <a:spcPct val="100000"/>
              </a:lnSpc>
              <a:spcAft>
                <a:spcPts val="1800"/>
              </a:spcAft>
              <a:defRPr/>
            </a:lvl2pPr>
            <a:lvl3pPr rtl="0">
              <a:lnSpc>
                <a:spcPct val="100000"/>
              </a:lnSpc>
              <a:spcAft>
                <a:spcPts val="1800"/>
              </a:spcAft>
              <a:defRPr/>
            </a:lvl3pPr>
            <a:lvl4pPr rtl="0">
              <a:lnSpc>
                <a:spcPct val="100000"/>
              </a:lnSpc>
              <a:spcAft>
                <a:spcPts val="1800"/>
              </a:spcAft>
              <a:defRPr/>
            </a:lvl4pPr>
            <a:lvl5pPr rtl="0">
              <a:lnSpc>
                <a:spcPct val="100000"/>
              </a:lnSpc>
              <a:spcAft>
                <a:spcPts val="1800"/>
              </a:spcAft>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Title Placeholder 1"/>
          <p:cNvSpPr>
            <a:spLocks noGrp="1"/>
          </p:cNvSpPr>
          <p:nvPr>
            <p:ph type="title"/>
          </p:nvPr>
        </p:nvSpPr>
        <p:spPr>
          <a:xfrm>
            <a:off x="970722" y="482860"/>
            <a:ext cx="8664597" cy="782357"/>
          </a:xfrm>
          <a:prstGeom prst="rect">
            <a:avLst/>
          </a:prstGeom>
        </p:spPr>
        <p:txBody>
          <a:bodyPr vert="horz" lIns="91440" tIns="45720" rIns="91440" bIns="0" rtlCol="0" anchor="b" anchorCtr="0">
            <a:noAutofit/>
          </a:bodyPr>
          <a:lstStyle>
            <a:lvl1pPr rtl="0">
              <a:defRPr>
                <a:solidFill>
                  <a:schemeClr val="tx2">
                    <a:lumMod val="50000"/>
                  </a:schemeClr>
                </a:solidFill>
              </a:defRPr>
            </a:lvl1pPr>
          </a:lstStyle>
          <a:p>
            <a:r>
              <a:rPr lang="en-GB"/>
              <a:t>Click to edit Master title style</a:t>
            </a:r>
            <a:endParaRPr lang="en-GB" dirty="0"/>
          </a:p>
        </p:txBody>
      </p:sp>
      <p:cxnSp>
        <p:nvCxnSpPr>
          <p:cNvPr id="9" name="Straight Connector 8">
            <a:extLst>
              <a:ext uri="{FF2B5EF4-FFF2-40B4-BE49-F238E27FC236}">
                <a16:creationId xmlns:a16="http://schemas.microsoft.com/office/drawing/2014/main" id="{80E49E27-AA0A-4321-9943-775F462E1CAB}"/>
              </a:ext>
            </a:extLst>
          </p:cNvPr>
          <p:cNvCxnSpPr>
            <a:cxnSpLocks/>
          </p:cNvCxnSpPr>
          <p:nvPr userDrawn="1"/>
        </p:nvCxnSpPr>
        <p:spPr>
          <a:xfrm>
            <a:off x="838200" y="0"/>
            <a:ext cx="0" cy="1265217"/>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spTree>
    <p:extLst>
      <p:ext uri="{BB962C8B-B14F-4D97-AF65-F5344CB8AC3E}">
        <p14:creationId xmlns:p14="http://schemas.microsoft.com/office/powerpoint/2010/main" val="174276936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emf"/><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5687998-3F0B-41E9-8BAC-A56C20E80B6A}"/>
              </a:ext>
            </a:extLst>
          </p:cNvPr>
          <p:cNvGraphicFramePr>
            <a:graphicFrameLocks noChangeAspect="1"/>
          </p:cNvGraphicFramePr>
          <p:nvPr userDrawn="1">
            <p:custDataLst>
              <p:tags r:id="rId37"/>
            </p:custDataLst>
            <p:extLst>
              <p:ext uri="{D42A27DB-BD31-4B8C-83A1-F6EECF244321}">
                <p14:modId xmlns:p14="http://schemas.microsoft.com/office/powerpoint/2010/main" val="1083825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416" imgH="416" progId="TCLayout.ActiveDocument.1">
                  <p:embed/>
                </p:oleObj>
              </mc:Choice>
              <mc:Fallback>
                <p:oleObj name="think-cell Slide" r:id="rId38" imgW="416" imgH="416" progId="TCLayout.ActiveDocument.1">
                  <p:embed/>
                  <p:pic>
                    <p:nvPicPr>
                      <p:cNvPr id="5" name="Object 4" hidden="1">
                        <a:extLst>
                          <a:ext uri="{FF2B5EF4-FFF2-40B4-BE49-F238E27FC236}">
                            <a16:creationId xmlns:a16="http://schemas.microsoft.com/office/drawing/2014/main" id="{C5687998-3F0B-41E9-8BAC-A56C20E80B6A}"/>
                          </a:ext>
                        </a:extLst>
                      </p:cNvPr>
                      <p:cNvPicPr/>
                      <p:nvPr/>
                    </p:nvPicPr>
                    <p:blipFill>
                      <a:blip r:embed="rId3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pic>
        <p:nvPicPr>
          <p:cNvPr id="8" name="Picture 7"/>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10575233" y="6313020"/>
            <a:ext cx="1432463" cy="376058"/>
          </a:xfrm>
          <a:prstGeom prst="rect">
            <a:avLst/>
          </a:prstGeom>
        </p:spPr>
      </p:pic>
      <p:pic>
        <p:nvPicPr>
          <p:cNvPr id="6" name="Picture 5" descr="Icon&#10;&#10;Description automatically generated">
            <a:extLst>
              <a:ext uri="{FF2B5EF4-FFF2-40B4-BE49-F238E27FC236}">
                <a16:creationId xmlns:a16="http://schemas.microsoft.com/office/drawing/2014/main" id="{3978DE30-BD50-419D-B829-2D328D309A63}"/>
              </a:ext>
            </a:extLst>
          </p:cNvPr>
          <p:cNvPicPr>
            <a:picLocks noChangeAspect="1"/>
          </p:cNvPicPr>
          <p:nvPr userDrawn="1"/>
        </p:nvPicPr>
        <p:blipFill>
          <a:blip r:embed="rId41"/>
          <a:stretch>
            <a:fillRect/>
          </a:stretch>
        </p:blipFill>
        <p:spPr>
          <a:xfrm>
            <a:off x="184304" y="6339365"/>
            <a:ext cx="946285" cy="393655"/>
          </a:xfrm>
          <a:prstGeom prst="rect">
            <a:avLst/>
          </a:prstGeom>
        </p:spPr>
      </p:pic>
    </p:spTree>
    <p:extLst>
      <p:ext uri="{BB962C8B-B14F-4D97-AF65-F5344CB8AC3E}">
        <p14:creationId xmlns:p14="http://schemas.microsoft.com/office/powerpoint/2010/main" val="3281686131"/>
      </p:ext>
    </p:extLst>
  </p:cSld>
  <p:clrMap bg1="lt1" tx1="dk1" bg2="lt2" tx2="dk2" accent1="accent1" accent2="accent2" accent3="accent3" accent4="accent4" accent5="accent5" accent6="accent6" hlink="hlink" folHlink="folHlink"/>
  <p:sldLayoutIdLst>
    <p:sldLayoutId id="2147485208" r:id="rId1"/>
    <p:sldLayoutId id="2147485209" r:id="rId2"/>
    <p:sldLayoutId id="2147485210" r:id="rId3"/>
    <p:sldLayoutId id="2147485199" r:id="rId4"/>
    <p:sldLayoutId id="2147485134" r:id="rId5"/>
    <p:sldLayoutId id="2147485203" r:id="rId6"/>
    <p:sldLayoutId id="2147485141" r:id="rId7"/>
    <p:sldLayoutId id="2147485142" r:id="rId8"/>
    <p:sldLayoutId id="2147485145" r:id="rId9"/>
    <p:sldLayoutId id="2147485146" r:id="rId10"/>
    <p:sldLayoutId id="2147485147" r:id="rId11"/>
    <p:sldLayoutId id="2147485148" r:id="rId12"/>
    <p:sldLayoutId id="2147485149" r:id="rId13"/>
    <p:sldLayoutId id="2147485150" r:id="rId14"/>
    <p:sldLayoutId id="2147485151" r:id="rId15"/>
    <p:sldLayoutId id="2147485152" r:id="rId16"/>
    <p:sldLayoutId id="2147485153" r:id="rId17"/>
    <p:sldLayoutId id="2147485154" r:id="rId18"/>
    <p:sldLayoutId id="2147485155" r:id="rId19"/>
    <p:sldLayoutId id="2147485093" r:id="rId20"/>
    <p:sldLayoutId id="2147485094" r:id="rId21"/>
    <p:sldLayoutId id="2147485095" r:id="rId22"/>
    <p:sldLayoutId id="2147485096" r:id="rId23"/>
    <p:sldLayoutId id="2147485097" r:id="rId24"/>
    <p:sldLayoutId id="2147485200" r:id="rId25"/>
    <p:sldLayoutId id="2147485201" r:id="rId26"/>
    <p:sldLayoutId id="2147485202" r:id="rId27"/>
    <p:sldLayoutId id="2147485098" r:id="rId28"/>
    <p:sldLayoutId id="2147485099" r:id="rId29"/>
    <p:sldLayoutId id="2147483713" r:id="rId30"/>
    <p:sldLayoutId id="2147485204" r:id="rId31"/>
    <p:sldLayoutId id="2147485213" r:id="rId32"/>
    <p:sldLayoutId id="2147485211" r:id="rId33"/>
    <p:sldLayoutId id="2147485212" r:id="rId34"/>
    <p:sldLayoutId id="2147485214" r:id="rId3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5.png"/><Relationship Id="rId2" Type="http://schemas.openxmlformats.org/officeDocument/2006/relationships/slideLayout" Target="../slideLayouts/slideLayout31.xml"/><Relationship Id="rId1" Type="http://schemas.openxmlformats.org/officeDocument/2006/relationships/tags" Target="../tags/tag37.xml"/><Relationship Id="rId6" Type="http://schemas.openxmlformats.org/officeDocument/2006/relationships/image" Target="../media/image4.jpg"/><Relationship Id="rId5" Type="http://schemas.openxmlformats.org/officeDocument/2006/relationships/image" Target="../media/image1.emf"/><Relationship Id="rId4" Type="http://schemas.openxmlformats.org/officeDocument/2006/relationships/oleObject" Target="../embeddings/oleObject36.bin"/><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notesSlide" Target="../notesSlides/notesSlide10.xml"/><Relationship Id="rId7" Type="http://schemas.openxmlformats.org/officeDocument/2006/relationships/image" Target="../media/image14.png"/><Relationship Id="rId12" Type="http://schemas.openxmlformats.org/officeDocument/2006/relationships/image" Target="../media/image18.png"/><Relationship Id="rId2" Type="http://schemas.openxmlformats.org/officeDocument/2006/relationships/slideLayout" Target="../slideLayouts/slideLayout35.xml"/><Relationship Id="rId1" Type="http://schemas.openxmlformats.org/officeDocument/2006/relationships/tags" Target="../tags/tag46.xml"/><Relationship Id="rId6" Type="http://schemas.openxmlformats.org/officeDocument/2006/relationships/image" Target="../media/image13.png"/><Relationship Id="rId11" Type="http://schemas.openxmlformats.org/officeDocument/2006/relationships/image" Target="../media/image17.jp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45.bin"/><Relationship Id="rId9" Type="http://schemas.openxmlformats.org/officeDocument/2006/relationships/image" Target="../media/image15.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8" Type="http://schemas.openxmlformats.org/officeDocument/2006/relationships/hyperlink" Target="https://joinup.ec.europa.eu/" TargetMode="External"/><Relationship Id="rId13" Type="http://schemas.openxmlformats.org/officeDocument/2006/relationships/image" Target="../media/image7.png"/><Relationship Id="rId3" Type="http://schemas.openxmlformats.org/officeDocument/2006/relationships/notesSlide" Target="../notesSlides/notesSlide12.xml"/><Relationship Id="rId7" Type="http://schemas.openxmlformats.org/officeDocument/2006/relationships/image" Target="../media/image11.png"/><Relationship Id="rId12" Type="http://schemas.openxmlformats.org/officeDocument/2006/relationships/hyperlink" Target="https://joinup.ec.europa.eu/contact" TargetMode="External"/><Relationship Id="rId2" Type="http://schemas.openxmlformats.org/officeDocument/2006/relationships/slideLayout" Target="../slideLayouts/slideLayout29.xml"/><Relationship Id="rId1" Type="http://schemas.openxmlformats.org/officeDocument/2006/relationships/tags" Target="../tags/tag47.xml"/><Relationship Id="rId6" Type="http://schemas.openxmlformats.org/officeDocument/2006/relationships/image" Target="../media/image10.jpg"/><Relationship Id="rId11" Type="http://schemas.openxmlformats.org/officeDocument/2006/relationships/hyperlink" Target="https://www.linkedin.com/company/european-commission/" TargetMode="External"/><Relationship Id="rId5" Type="http://schemas.openxmlformats.org/officeDocument/2006/relationships/image" Target="../media/image1.emf"/><Relationship Id="rId10" Type="http://schemas.openxmlformats.org/officeDocument/2006/relationships/hyperlink" Target="https://www.linkedin.com/groups/2600644" TargetMode="External"/><Relationship Id="rId4" Type="http://schemas.openxmlformats.org/officeDocument/2006/relationships/oleObject" Target="../embeddings/oleObject46.bin"/><Relationship Id="rId9" Type="http://schemas.openxmlformats.org/officeDocument/2006/relationships/hyperlink" Target="https://twitter.com/Joinup_eu" TargetMode="Externa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9.png"/><Relationship Id="rId2" Type="http://schemas.openxmlformats.org/officeDocument/2006/relationships/slideLayout" Target="../slideLayouts/slideLayout28.xml"/><Relationship Id="rId1" Type="http://schemas.openxmlformats.org/officeDocument/2006/relationships/tags" Target="../tags/tag48.xml"/><Relationship Id="rId6" Type="http://schemas.openxmlformats.org/officeDocument/2006/relationships/hyperlink" Target="https://creativecommons.org/licenses/by/4.0/" TargetMode="Externa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39.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40.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6.xml.rels><?xml version="1.0" encoding="UTF-8" standalone="yes"?>
<Relationships xmlns="http://schemas.openxmlformats.org/package/2006/relationships"><Relationship Id="rId26" Type="http://schemas.openxmlformats.org/officeDocument/2006/relationships/hyperlink" Target="https://fr.wikipedia.org/wiki/Mozilla_Thunderbird" TargetMode="External"/><Relationship Id="rId21" Type="http://schemas.openxmlformats.org/officeDocument/2006/relationships/hyperlink" Target="https://fr.wikipedia.org/wiki/%C3%89diteur_d'image_matricielle" TargetMode="External"/><Relationship Id="rId42" Type="http://schemas.openxmlformats.org/officeDocument/2006/relationships/hyperlink" Target="https://www.projeqtor.org/fr/" TargetMode="External"/><Relationship Id="rId47" Type="http://schemas.openxmlformats.org/officeDocument/2006/relationships/hyperlink" Target="https://fr.wikipedia.org/wiki/VLC_media_player" TargetMode="External"/><Relationship Id="rId63" Type="http://schemas.openxmlformats.org/officeDocument/2006/relationships/hyperlink" Target="https://fr.wikipedia.org/wiki/Logiciel_antivirus" TargetMode="External"/><Relationship Id="rId68" Type="http://schemas.openxmlformats.org/officeDocument/2006/relationships/hyperlink" Target="https://archive.wikiwix.com/cache/?url=https://www.dvdstyler.org/fr/" TargetMode="External"/><Relationship Id="rId84" Type="http://schemas.openxmlformats.org/officeDocument/2006/relationships/hyperlink" Target="https://fr.wikipedia.org/wiki/PDF_Split_and_Merge" TargetMode="External"/><Relationship Id="rId16" Type="http://schemas.openxmlformats.org/officeDocument/2006/relationships/hyperlink" Target="https://en.wikipedia.org/wiki/MuPDF" TargetMode="External"/><Relationship Id="rId11" Type="http://schemas.openxmlformats.org/officeDocument/2006/relationships/hyperlink" Target="https://fr.wikipedia.org/wiki/LibreOffice" TargetMode="External"/><Relationship Id="rId32" Type="http://schemas.openxmlformats.org/officeDocument/2006/relationships/hyperlink" Target="https://fr.wikipedia.org/wiki/Filezilla" TargetMode="External"/><Relationship Id="rId37" Type="http://schemas.openxmlformats.org/officeDocument/2006/relationships/hyperlink" Target="https://fr.wikipedia.org/wiki/Carte_heuristique" TargetMode="External"/><Relationship Id="rId53" Type="http://schemas.openxmlformats.org/officeDocument/2006/relationships/hyperlink" Target="https://fr.wikipedia.org/wiki/Avidemux" TargetMode="External"/><Relationship Id="rId58" Type="http://schemas.openxmlformats.org/officeDocument/2006/relationships/hyperlink" Target="https://fr.wikipedia.org/wiki/Apache_Superset" TargetMode="External"/><Relationship Id="rId74" Type="http://schemas.openxmlformats.org/officeDocument/2006/relationships/hyperlink" Target="https://fr.wikipedia.org/wiki/Sondage_d'opinion" TargetMode="External"/><Relationship Id="rId79" Type="http://schemas.openxmlformats.org/officeDocument/2006/relationships/hyperlink" Target="https://fr.wikipedia.org/wiki/Java_OpenStreetMap_Editor" TargetMode="External"/><Relationship Id="rId5" Type="http://schemas.openxmlformats.org/officeDocument/2006/relationships/image" Target="../media/image1.emf"/><Relationship Id="rId19" Type="http://schemas.openxmlformats.org/officeDocument/2006/relationships/hyperlink" Target="https://fr.wikipedia.org/wiki/Publication_assist%C3%A9e_par_ordinateur" TargetMode="External"/><Relationship Id="rId14" Type="http://schemas.openxmlformats.org/officeDocument/2006/relationships/hyperlink" Target="https://fr.wikipedia.org/wiki/Cat%C3%A9gorie:Lecteur_de_fichiers_PDF" TargetMode="External"/><Relationship Id="rId22" Type="http://schemas.openxmlformats.org/officeDocument/2006/relationships/hyperlink" Target="https://fr.wikipedia.org/wiki/Gimp" TargetMode="External"/><Relationship Id="rId27" Type="http://schemas.openxmlformats.org/officeDocument/2006/relationships/hyperlink" Target="https://fr.wikipedia.org/wiki/Messagerie_instantan%C3%A9e" TargetMode="External"/><Relationship Id="rId30" Type="http://schemas.openxmlformats.org/officeDocument/2006/relationships/hyperlink" Target="https://fr.wikipedia.org/wiki/Mastodon_(r%C3%A9seau_social)" TargetMode="External"/><Relationship Id="rId35" Type="http://schemas.openxmlformats.org/officeDocument/2006/relationships/hyperlink" Target="https://fr.wikipedia.org/wiki/Moteur_de_recherche" TargetMode="External"/><Relationship Id="rId43" Type="http://schemas.openxmlformats.org/officeDocument/2006/relationships/hyperlink" Target="https://archive.wikiwix.com/cache/?url=https://www.projeqtor.org/fr/" TargetMode="External"/><Relationship Id="rId48" Type="http://schemas.openxmlformats.org/officeDocument/2006/relationships/hyperlink" Target="https://fr.wikipedia.org/wiki/Capture_d'%C3%A9cran" TargetMode="External"/><Relationship Id="rId56" Type="http://schemas.openxmlformats.org/officeDocument/2006/relationships/hyperlink" Target="https://fr.wikipedia.org/wiki/BigBlueButton" TargetMode="External"/><Relationship Id="rId64" Type="http://schemas.openxmlformats.org/officeDocument/2006/relationships/hyperlink" Target="https://fr.wikipedia.org/wiki/Serveur_informatique" TargetMode="External"/><Relationship Id="rId69" Type="http://schemas.openxmlformats.org/officeDocument/2006/relationships/hyperlink" Target="https://fr.wikipedia.org/wiki/Forum_(informatique)" TargetMode="External"/><Relationship Id="rId77" Type="http://schemas.openxmlformats.org/officeDocument/2006/relationships/hyperlink" Target="https://fr.wikipedia.org/wiki/FreeFileSync" TargetMode="External"/><Relationship Id="rId8" Type="http://schemas.openxmlformats.org/officeDocument/2006/relationships/hyperlink" Target="https://fr.wikipedia.org/wiki/Liste_de_logiciels_de_compression_de_donn%C3%A9es" TargetMode="External"/><Relationship Id="rId51" Type="http://schemas.openxmlformats.org/officeDocument/2006/relationships/hyperlink" Target="https://fr.wikipedia.org/wiki/Montage_vid%C3%A9o" TargetMode="External"/><Relationship Id="rId72" Type="http://schemas.openxmlformats.org/officeDocument/2006/relationships/hyperlink" Target="https://www.diagrams.net/" TargetMode="External"/><Relationship Id="rId80" Type="http://schemas.openxmlformats.org/officeDocument/2006/relationships/hyperlink" Target="https://fr.wikipedia.org/wiki/Scanner_(informatique)" TargetMode="External"/><Relationship Id="rId85" Type="http://schemas.openxmlformats.org/officeDocument/2006/relationships/hyperlink" Target="https://framalibre.org/content/rocketchat" TargetMode="External"/><Relationship Id="rId3" Type="http://schemas.openxmlformats.org/officeDocument/2006/relationships/notesSlide" Target="../notesSlides/notesSlide6.xml"/><Relationship Id="rId12" Type="http://schemas.openxmlformats.org/officeDocument/2006/relationships/hyperlink" Target="https://fr.wikipedia.org/wiki/%C3%89diteur_de_texte" TargetMode="External"/><Relationship Id="rId17" Type="http://schemas.openxmlformats.org/officeDocument/2006/relationships/hyperlink" Target="https://fr.wikipedia.org/wiki/Syst%C3%A8me_d'information_g%C3%A9ographique" TargetMode="External"/><Relationship Id="rId25" Type="http://schemas.openxmlformats.org/officeDocument/2006/relationships/hyperlink" Target="https://fr.wikipedia.org/wiki/Client_de_messagerie" TargetMode="External"/><Relationship Id="rId33" Type="http://schemas.openxmlformats.org/officeDocument/2006/relationships/hyperlink" Target="https://fr.wikipedia.org/wiki/Navigateur_web" TargetMode="External"/><Relationship Id="rId38" Type="http://schemas.openxmlformats.org/officeDocument/2006/relationships/hyperlink" Target="https://fr.wikipedia.org/wiki/Freeplane" TargetMode="External"/><Relationship Id="rId46" Type="http://schemas.openxmlformats.org/officeDocument/2006/relationships/hyperlink" Target="https://fr.wikipedia.org/wiki/Lecteur_multim%C3%A9dia" TargetMode="External"/><Relationship Id="rId59" Type="http://schemas.openxmlformats.org/officeDocument/2006/relationships/hyperlink" Target="https://fr.wikipedia.org/wiki/Arborescence" TargetMode="External"/><Relationship Id="rId67" Type="http://schemas.openxmlformats.org/officeDocument/2006/relationships/hyperlink" Target="https://www.dvdstyler.org/fr/" TargetMode="External"/><Relationship Id="rId20" Type="http://schemas.openxmlformats.org/officeDocument/2006/relationships/hyperlink" Target="https://fr.wikipedia.org/wiki/Scribus" TargetMode="External"/><Relationship Id="rId41" Type="http://schemas.openxmlformats.org/officeDocument/2006/relationships/hyperlink" Target="https://fr.wikipedia.org/wiki/ProjectLibre" TargetMode="External"/><Relationship Id="rId54" Type="http://schemas.openxmlformats.org/officeDocument/2006/relationships/hyperlink" Target="https://fr.wikipedia.org/wiki/Conf%C3%A9rence_en_ligne" TargetMode="External"/><Relationship Id="rId62" Type="http://schemas.openxmlformats.org/officeDocument/2006/relationships/hyperlink" Target="https://fr.wikipedia.org/wiki/BlueGriffon" TargetMode="External"/><Relationship Id="rId70" Type="http://schemas.openxmlformats.org/officeDocument/2006/relationships/hyperlink" Target="https://fr.wikipedia.org/wiki/Discourse" TargetMode="External"/><Relationship Id="rId75" Type="http://schemas.openxmlformats.org/officeDocument/2006/relationships/hyperlink" Target="https://fr.wikipedia.org/wiki/Framadate" TargetMode="External"/><Relationship Id="rId83" Type="http://schemas.openxmlformats.org/officeDocument/2006/relationships/hyperlink" Target="https://fr.wikipedia.org/wiki/Portable_Document_Format" TargetMode="External"/><Relationship Id="rId1" Type="http://schemas.openxmlformats.org/officeDocument/2006/relationships/tags" Target="../tags/tag42.xml"/><Relationship Id="rId6" Type="http://schemas.openxmlformats.org/officeDocument/2006/relationships/hyperlink" Target="https://fr.wikipedia.org/wiki/Gestionnaire_de_mots_de_passe" TargetMode="External"/><Relationship Id="rId15" Type="http://schemas.openxmlformats.org/officeDocument/2006/relationships/hyperlink" Target="https://fr.wikipedia.org/wiki/Sumatra_PDF" TargetMode="External"/><Relationship Id="rId23" Type="http://schemas.openxmlformats.org/officeDocument/2006/relationships/hyperlink" Target="https://fr.wikipedia.org/wiki/Image_vectorielle" TargetMode="External"/><Relationship Id="rId28" Type="http://schemas.openxmlformats.org/officeDocument/2006/relationships/hyperlink" Target="https://fr.wikipedia.org/wiki/Jitsi" TargetMode="External"/><Relationship Id="rId36" Type="http://schemas.openxmlformats.org/officeDocument/2006/relationships/hyperlink" Target="https://fr.wikipedia.org/wiki/Qwant" TargetMode="External"/><Relationship Id="rId49" Type="http://schemas.openxmlformats.org/officeDocument/2006/relationships/hyperlink" Target="https://fr.wikipedia.org/wiki/Open_Broadcaster_Software" TargetMode="External"/><Relationship Id="rId57" Type="http://schemas.openxmlformats.org/officeDocument/2006/relationships/hyperlink" Target="https://fr.wikipedia.org/wiki/Visualisation_de_donn%C3%A9es" TargetMode="External"/><Relationship Id="rId10" Type="http://schemas.openxmlformats.org/officeDocument/2006/relationships/hyperlink" Target="https://fr.wikipedia.org/wiki/Suite_bureautique" TargetMode="External"/><Relationship Id="rId31" Type="http://schemas.openxmlformats.org/officeDocument/2006/relationships/hyperlink" Target="https://fr.wikipedia.org/wiki/File_Transfer_Protocol" TargetMode="External"/><Relationship Id="rId44" Type="http://schemas.openxmlformats.org/officeDocument/2006/relationships/hyperlink" Target="https://fr.wikipedia.org/wiki/Outil_collaboratif" TargetMode="External"/><Relationship Id="rId52" Type="http://schemas.openxmlformats.org/officeDocument/2006/relationships/hyperlink" Target="https://fr.wikipedia.org/wiki/OpenShot_Video_Editor" TargetMode="External"/><Relationship Id="rId60" Type="http://schemas.openxmlformats.org/officeDocument/2006/relationships/hyperlink" Target="https://fr.wikipedia.org/wiki/Archifiltre" TargetMode="External"/><Relationship Id="rId65" Type="http://schemas.openxmlformats.org/officeDocument/2006/relationships/hyperlink" Target="https://fr.wikipedia.org/wiki/ClamAV" TargetMode="External"/><Relationship Id="rId73" Type="http://schemas.openxmlformats.org/officeDocument/2006/relationships/hyperlink" Target="https://archive.wikiwix.com/cache/?url=https://www.diagrams.net/" TargetMode="External"/><Relationship Id="rId78" Type="http://schemas.openxmlformats.org/officeDocument/2006/relationships/hyperlink" Target="https://fr.wikipedia.org/wiki/OpenStreetMap" TargetMode="External"/><Relationship Id="rId81" Type="http://schemas.openxmlformats.org/officeDocument/2006/relationships/hyperlink" Target="https://www.naps2.com/" TargetMode="External"/><Relationship Id="rId86" Type="http://schemas.openxmlformats.org/officeDocument/2006/relationships/hyperlink" Target="https://archive.wikiwix.com/cache/?url=https://framalibre.org/content/rocketchat" TargetMode="External"/><Relationship Id="rId4" Type="http://schemas.openxmlformats.org/officeDocument/2006/relationships/oleObject" Target="../embeddings/oleObject41.bin"/><Relationship Id="rId9" Type="http://schemas.openxmlformats.org/officeDocument/2006/relationships/hyperlink" Target="https://fr.wikipedia.org/wiki/7-zip" TargetMode="External"/><Relationship Id="rId13" Type="http://schemas.openxmlformats.org/officeDocument/2006/relationships/hyperlink" Target="https://fr.wikipedia.org/wiki/Notepad++" TargetMode="External"/><Relationship Id="rId18" Type="http://schemas.openxmlformats.org/officeDocument/2006/relationships/hyperlink" Target="https://fr.wikipedia.org/wiki/QGIS" TargetMode="External"/><Relationship Id="rId39" Type="http://schemas.openxmlformats.org/officeDocument/2006/relationships/hyperlink" Target="https://fr.wikipedia.org/wiki/Logiciel_de_gestion_de_projets" TargetMode="External"/><Relationship Id="rId34" Type="http://schemas.openxmlformats.org/officeDocument/2006/relationships/hyperlink" Target="https://fr.wikipedia.org/wiki/Mozilla_Firefox" TargetMode="External"/><Relationship Id="rId50" Type="http://schemas.openxmlformats.org/officeDocument/2006/relationships/hyperlink" Target="https://fr.wikipedia.org/wiki/Greenshot" TargetMode="External"/><Relationship Id="rId55" Type="http://schemas.openxmlformats.org/officeDocument/2006/relationships/hyperlink" Target="https://fr.wikipedia.org/wiki/Formation_%C3%A0_distance" TargetMode="External"/><Relationship Id="rId76" Type="http://schemas.openxmlformats.org/officeDocument/2006/relationships/hyperlink" Target="https://fr.wikipedia.org/wiki/Synchronisation_de_fichiers" TargetMode="External"/><Relationship Id="rId7" Type="http://schemas.openxmlformats.org/officeDocument/2006/relationships/hyperlink" Target="https://fr.wikipedia.org/wiki/KeePass" TargetMode="External"/><Relationship Id="rId71" Type="http://schemas.openxmlformats.org/officeDocument/2006/relationships/hyperlink" Target="https://fr.wikipedia.org/wiki/Sch%C3%A9ma" TargetMode="External"/><Relationship Id="rId2" Type="http://schemas.openxmlformats.org/officeDocument/2006/relationships/slideLayout" Target="../slideLayouts/slideLayout7.xml"/><Relationship Id="rId29" Type="http://schemas.openxmlformats.org/officeDocument/2006/relationships/hyperlink" Target="https://fr.wikipedia.org/wiki/Microblog" TargetMode="External"/><Relationship Id="rId24" Type="http://schemas.openxmlformats.org/officeDocument/2006/relationships/hyperlink" Target="https://fr.wikipedia.org/wiki/Inkscape" TargetMode="External"/><Relationship Id="rId40" Type="http://schemas.openxmlformats.org/officeDocument/2006/relationships/hyperlink" Target="https://fr.wikipedia.org/wiki/Redmine" TargetMode="External"/><Relationship Id="rId45" Type="http://schemas.openxmlformats.org/officeDocument/2006/relationships/hyperlink" Target="https://fr.wikipedia.org/wiki/MediaWiki" TargetMode="External"/><Relationship Id="rId66" Type="http://schemas.openxmlformats.org/officeDocument/2006/relationships/hyperlink" Target="https://fr.wikipedia.org/wiki/DVD" TargetMode="External"/><Relationship Id="rId61" Type="http://schemas.openxmlformats.org/officeDocument/2006/relationships/hyperlink" Target="https://fr.wikipedia.org/wiki/%C3%89diteur_HTML" TargetMode="External"/><Relationship Id="rId82" Type="http://schemas.openxmlformats.org/officeDocument/2006/relationships/hyperlink" Target="https://archive.wikiwix.com/cache/?url=https://www.naps2.com/" TargetMode="Externa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45.xml"/><Relationship Id="rId5" Type="http://schemas.openxmlformats.org/officeDocument/2006/relationships/image" Target="../media/image1.emf"/><Relationship Id="rId4" Type="http://schemas.openxmlformats.org/officeDocument/2006/relationships/oleObject" Target="../embeddings/oleObject4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84F2A2-378C-4546-A105-09AE7C1ACF28}"/>
              </a:ext>
            </a:extLst>
          </p:cNvPr>
          <p:cNvGraphicFramePr>
            <a:graphicFrameLocks noChangeAspect="1"/>
          </p:cNvGraphicFramePr>
          <p:nvPr>
            <p:custDataLst>
              <p:tags r:id="rId1"/>
            </p:custDataLst>
            <p:extLst>
              <p:ext uri="{D42A27DB-BD31-4B8C-83A1-F6EECF244321}">
                <p14:modId xmlns:p14="http://schemas.microsoft.com/office/powerpoint/2010/main" val="3685395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a:extLst>
                          <a:ext uri="{FF2B5EF4-FFF2-40B4-BE49-F238E27FC236}">
                            <a16:creationId xmlns:a16="http://schemas.microsoft.com/office/drawing/2014/main" id="{D484F2A2-378C-4546-A105-09AE7C1ACF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Placeholder 3"/>
          <p:cNvPicPr>
            <a:picLocks noGrp="1" noChangeAspect="1"/>
          </p:cNvPicPr>
          <p:nvPr>
            <p:ph type="pic" sz="quarter" idx="16"/>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t="20369" b="20369"/>
          <a:stretch>
            <a:fillRect/>
          </a:stretch>
        </p:blipFill>
        <p:spPr>
          <a:xfrm>
            <a:off x="0" y="1077913"/>
            <a:ext cx="12192000" cy="5780087"/>
          </a:xfrm>
        </p:spPr>
      </p:pic>
      <p:pic>
        <p:nvPicPr>
          <p:cNvPr id="6" name="Picture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1355" y="258042"/>
            <a:ext cx="1659793" cy="1152460"/>
          </a:xfrm>
          <a:prstGeom prst="rect">
            <a:avLst/>
          </a:prstGeom>
        </p:spPr>
      </p:pic>
      <p:sp>
        <p:nvSpPr>
          <p:cNvPr id="7" name="Rectangle 6"/>
          <p:cNvSpPr/>
          <p:nvPr/>
        </p:nvSpPr>
        <p:spPr>
          <a:xfrm>
            <a:off x="5703580"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9" name="Flowchart: Process 8"/>
          <p:cNvSpPr/>
          <p:nvPr/>
        </p:nvSpPr>
        <p:spPr>
          <a:xfrm>
            <a:off x="0" y="1076155"/>
            <a:ext cx="12192000" cy="5781845"/>
          </a:xfrm>
          <a:prstGeom prst="flowChartProcess">
            <a:avLst/>
          </a:prstGeom>
          <a:solidFill>
            <a:schemeClr val="accent6">
              <a:alpha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dirty="0"/>
          </a:p>
        </p:txBody>
      </p:sp>
      <p:sp>
        <p:nvSpPr>
          <p:cNvPr id="10" name="TextBox 9"/>
          <p:cNvSpPr txBox="1"/>
          <p:nvPr/>
        </p:nvSpPr>
        <p:spPr>
          <a:xfrm>
            <a:off x="1875951" y="3816496"/>
            <a:ext cx="8610600" cy="430887"/>
          </a:xfrm>
          <a:prstGeom prst="rect">
            <a:avLst/>
          </a:prstGeom>
          <a:noFill/>
        </p:spPr>
        <p:txBody>
          <a:bodyPr wrap="square" lIns="0" tIns="0" rIns="0" bIns="0" rtlCol="0">
            <a:spAutoFit/>
          </a:bodyPr>
          <a:lstStyle/>
          <a:p>
            <a:r>
              <a:rPr lang="en-GB" sz="2800">
                <a:solidFill>
                  <a:schemeClr val="bg1"/>
                </a:solidFill>
                <a:latin typeface="+mj-lt"/>
                <a:ea typeface="Titillium Light" charset="0"/>
                <a:cs typeface="Titillium Light" charset="0"/>
              </a:rPr>
              <a:t>Open Source Software Procurement</a:t>
            </a:r>
            <a:endParaRPr lang="en-GB" sz="2800" dirty="0">
              <a:solidFill>
                <a:schemeClr val="bg1"/>
              </a:solidFill>
              <a:latin typeface="+mj-lt"/>
              <a:ea typeface="Titillium Light" charset="0"/>
              <a:cs typeface="Titillium Light" charset="0"/>
            </a:endParaRPr>
          </a:p>
        </p:txBody>
      </p:sp>
      <p:sp>
        <p:nvSpPr>
          <p:cNvPr id="11" name="TextBox 10"/>
          <p:cNvSpPr txBox="1"/>
          <p:nvPr/>
        </p:nvSpPr>
        <p:spPr>
          <a:xfrm>
            <a:off x="4150168" y="4875424"/>
            <a:ext cx="3302850" cy="1384995"/>
          </a:xfrm>
          <a:prstGeom prst="rect">
            <a:avLst/>
          </a:prstGeom>
          <a:noFill/>
        </p:spPr>
        <p:txBody>
          <a:bodyPr wrap="square" lIns="0" tIns="0" rIns="91440" bIns="0" rtlCol="0">
            <a:spAutoFit/>
          </a:bodyPr>
          <a:lstStyle/>
          <a:p>
            <a:r>
              <a:rPr lang="en-GB" sz="1400" b="1" kern="0" dirty="0">
                <a:solidFill>
                  <a:schemeClr val="bg1"/>
                </a:solidFill>
                <a:latin typeface="Verdana" charset="0"/>
                <a:cs typeface="Verdana" charset="0"/>
              </a:rPr>
              <a:t>Digital Europe Programme</a:t>
            </a:r>
          </a:p>
          <a:p>
            <a:endParaRPr lang="en-GB" sz="1400" b="1" kern="0">
              <a:solidFill>
                <a:schemeClr val="bg1"/>
              </a:solidFill>
              <a:latin typeface="Verdana" charset="0"/>
              <a:cs typeface="Verdana" charset="0"/>
            </a:endParaRPr>
          </a:p>
          <a:p>
            <a:endParaRPr lang="en-GB" sz="1400" b="1" kern="0">
              <a:solidFill>
                <a:schemeClr val="bg1"/>
              </a:solidFill>
              <a:latin typeface="Verdana" charset="0"/>
              <a:cs typeface="Verdana" charset="0"/>
            </a:endParaRPr>
          </a:p>
          <a:p>
            <a:r>
              <a:rPr lang="en-GB" sz="1400" b="1" kern="0">
                <a:solidFill>
                  <a:schemeClr val="bg1"/>
                </a:solidFill>
                <a:latin typeface="Verdana" charset="0"/>
                <a:cs typeface="Verdana" charset="0"/>
              </a:rPr>
              <a:t>Patrice-Emmanuel Schmitz</a:t>
            </a:r>
            <a:br>
              <a:rPr lang="en-GB" sz="1400" b="1" kern="0">
                <a:solidFill>
                  <a:schemeClr val="bg1"/>
                </a:solidFill>
                <a:latin typeface="Verdana" charset="0"/>
                <a:cs typeface="Verdana" charset="0"/>
              </a:rPr>
            </a:br>
            <a:r>
              <a:rPr lang="en-GB" sz="1400" b="1" kern="0">
                <a:solidFill>
                  <a:schemeClr val="bg1"/>
                </a:solidFill>
                <a:latin typeface="Verdana" charset="0"/>
                <a:cs typeface="Verdana" charset="0"/>
              </a:rPr>
              <a:t>Legal support</a:t>
            </a:r>
            <a:endParaRPr lang="en-GB" sz="200" b="1" kern="0" dirty="0">
              <a:solidFill>
                <a:schemeClr val="bg1"/>
              </a:solidFill>
              <a:latin typeface="Verdana" charset="0"/>
              <a:cs typeface="Verdana" charset="0"/>
            </a:endParaRPr>
          </a:p>
          <a:p>
            <a:endParaRPr lang="en-GB" sz="200" b="1" kern="0" dirty="0">
              <a:solidFill>
                <a:schemeClr val="bg1"/>
              </a:solidFill>
              <a:latin typeface="Verdana" charset="0"/>
              <a:cs typeface="Verdana" charset="0"/>
            </a:endParaRPr>
          </a:p>
          <a:p>
            <a:pPr>
              <a:lnSpc>
                <a:spcPct val="150000"/>
              </a:lnSpc>
            </a:pPr>
            <a:endParaRPr lang="en-GB" sz="1200" kern="0" dirty="0">
              <a:solidFill>
                <a:schemeClr val="bg1"/>
              </a:solidFill>
              <a:latin typeface="Verdana" charset="0"/>
              <a:cs typeface="Verdana" charset="0"/>
            </a:endParaRPr>
          </a:p>
        </p:txBody>
      </p:sp>
      <p:cxnSp>
        <p:nvCxnSpPr>
          <p:cNvPr id="14" name="Straight Connector 13"/>
          <p:cNvCxnSpPr>
            <a:cxnSpLocks/>
          </p:cNvCxnSpPr>
          <p:nvPr/>
        </p:nvCxnSpPr>
        <p:spPr>
          <a:xfrm>
            <a:off x="1875951" y="4549821"/>
            <a:ext cx="8525349" cy="0"/>
          </a:xfrm>
          <a:prstGeom prst="line">
            <a:avLst/>
          </a:prstGeom>
          <a:noFill/>
          <a:ln w="25400">
            <a:gradFill>
              <a:gsLst>
                <a:gs pos="75000">
                  <a:srgbClr val="C3DB63"/>
                </a:gs>
                <a:gs pos="51000">
                  <a:srgbClr val="43C0BA"/>
                </a:gs>
                <a:gs pos="23000">
                  <a:srgbClr val="1759A9"/>
                </a:gs>
                <a:gs pos="0">
                  <a:srgbClr val="288EBF"/>
                </a:gs>
                <a:gs pos="92000">
                  <a:srgbClr val="F49222"/>
                </a:gs>
              </a:gsLst>
              <a:lin ang="2700000" scaled="0"/>
            </a:gradFill>
          </a:ln>
        </p:spPr>
      </p:cxnSp>
      <p:pic>
        <p:nvPicPr>
          <p:cNvPr id="16" name="Picture 1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51355" y="256284"/>
            <a:ext cx="1659793" cy="1152460"/>
          </a:xfrm>
          <a:prstGeom prst="rect">
            <a:avLst/>
          </a:prstGeom>
        </p:spPr>
      </p:pic>
      <p:sp>
        <p:nvSpPr>
          <p:cNvPr id="17" name="Rectangle 16"/>
          <p:cNvSpPr/>
          <p:nvPr/>
        </p:nvSpPr>
        <p:spPr>
          <a:xfrm>
            <a:off x="5703580" y="6617406"/>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dirty="0"/>
          </a:p>
        </p:txBody>
      </p:sp>
      <p:sp>
        <p:nvSpPr>
          <p:cNvPr id="19" name="TextBox 18"/>
          <p:cNvSpPr txBox="1"/>
          <p:nvPr/>
        </p:nvSpPr>
        <p:spPr>
          <a:xfrm>
            <a:off x="9744310" y="1313034"/>
            <a:ext cx="1247136" cy="1477328"/>
          </a:xfrm>
          <a:prstGeom prst="rect">
            <a:avLst/>
          </a:prstGeom>
          <a:noFill/>
        </p:spPr>
        <p:txBody>
          <a:bodyPr wrap="none" lIns="0" tIns="0" rIns="0" bIns="0" rtlCol="0">
            <a:spAutoFit/>
          </a:bodyPr>
          <a:lstStyle/>
          <a:p>
            <a:r>
              <a:rPr lang="en-GB" sz="9600">
                <a:solidFill>
                  <a:schemeClr val="bg1"/>
                </a:solidFill>
                <a:latin typeface="+mj-lt"/>
                <a:ea typeface="Titillium Thin" charset="0"/>
                <a:cs typeface="Titillium Thin" charset="0"/>
              </a:rPr>
              <a:t>23</a:t>
            </a:r>
            <a:endParaRPr lang="en-GB" sz="9600" dirty="0">
              <a:solidFill>
                <a:schemeClr val="bg1"/>
              </a:solidFill>
              <a:latin typeface="+mj-lt"/>
              <a:ea typeface="Titillium Thin" charset="0"/>
              <a:cs typeface="Titillium Thin" charset="0"/>
            </a:endParaRPr>
          </a:p>
        </p:txBody>
      </p:sp>
      <p:sp>
        <p:nvSpPr>
          <p:cNvPr id="20" name="TextBox 19"/>
          <p:cNvSpPr txBox="1"/>
          <p:nvPr/>
        </p:nvSpPr>
        <p:spPr>
          <a:xfrm>
            <a:off x="11113275" y="1608656"/>
            <a:ext cx="763792" cy="351122"/>
          </a:xfrm>
          <a:prstGeom prst="rect">
            <a:avLst/>
          </a:prstGeom>
          <a:noFill/>
        </p:spPr>
        <p:txBody>
          <a:bodyPr wrap="square" lIns="0" tIns="0" rIns="0" bIns="0" rtlCol="0">
            <a:spAutoFit/>
          </a:bodyPr>
          <a:lstStyle/>
          <a:p>
            <a:pPr>
              <a:lnSpc>
                <a:spcPct val="80000"/>
              </a:lnSpc>
            </a:pPr>
            <a:r>
              <a:rPr lang="en-GB" sz="1400" spc="200">
                <a:solidFill>
                  <a:schemeClr val="bg1"/>
                </a:solidFill>
                <a:latin typeface="+mj-lt"/>
                <a:ea typeface="Titillium Light" charset="0"/>
                <a:cs typeface="Titillium Light" charset="0"/>
              </a:rPr>
              <a:t>May</a:t>
            </a:r>
          </a:p>
          <a:p>
            <a:pPr>
              <a:lnSpc>
                <a:spcPct val="80000"/>
              </a:lnSpc>
            </a:pPr>
            <a:r>
              <a:rPr lang="en-GB" sz="1400" spc="200">
                <a:solidFill>
                  <a:schemeClr val="bg1"/>
                </a:solidFill>
                <a:latin typeface="+mj-lt"/>
                <a:ea typeface="Titillium Light" charset="0"/>
                <a:cs typeface="Titillium Light" charset="0"/>
              </a:rPr>
              <a:t>2022</a:t>
            </a:r>
            <a:endParaRPr lang="en-GB" sz="1400" spc="200" dirty="0">
              <a:solidFill>
                <a:schemeClr val="bg1"/>
              </a:solidFill>
              <a:latin typeface="+mj-lt"/>
              <a:ea typeface="Titillium Light" charset="0"/>
              <a:cs typeface="Titillium Light" charset="0"/>
            </a:endParaRPr>
          </a:p>
        </p:txBody>
      </p:sp>
      <p:pic>
        <p:nvPicPr>
          <p:cNvPr id="21" name="Picture 20"/>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5146" y="4289313"/>
            <a:ext cx="3290247" cy="1409727"/>
          </a:xfrm>
          <a:prstGeom prst="rect">
            <a:avLst/>
          </a:prstGeom>
        </p:spPr>
      </p:pic>
      <p:pic>
        <p:nvPicPr>
          <p:cNvPr id="15" name="Picture 14">
            <a:extLst>
              <a:ext uri="{FF2B5EF4-FFF2-40B4-BE49-F238E27FC236}">
                <a16:creationId xmlns:a16="http://schemas.microsoft.com/office/drawing/2014/main" id="{5BB2C258-BD4A-4E71-BCDB-FD347440B1B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910676" y="4650619"/>
            <a:ext cx="1980241" cy="769026"/>
          </a:xfrm>
          <a:prstGeom prst="rect">
            <a:avLst/>
          </a:prstGeom>
        </p:spPr>
      </p:pic>
    </p:spTree>
    <p:extLst>
      <p:ext uri="{BB962C8B-B14F-4D97-AF65-F5344CB8AC3E}">
        <p14:creationId xmlns:p14="http://schemas.microsoft.com/office/powerpoint/2010/main" val="4906156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CA9FD33-0BBE-4922-97AA-0A2ACD92A3B6}"/>
              </a:ext>
            </a:extLst>
          </p:cNvPr>
          <p:cNvGraphicFramePr>
            <a:graphicFrameLocks noChangeAspect="1"/>
          </p:cNvGraphicFramePr>
          <p:nvPr>
            <p:custDataLst>
              <p:tags r:id="rId1"/>
            </p:custDataLst>
            <p:extLst>
              <p:ext uri="{D42A27DB-BD31-4B8C-83A1-F6EECF244321}">
                <p14:modId xmlns:p14="http://schemas.microsoft.com/office/powerpoint/2010/main" val="2633863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a:extLst>
                          <a:ext uri="{FF2B5EF4-FFF2-40B4-BE49-F238E27FC236}">
                            <a16:creationId xmlns:a16="http://schemas.microsoft.com/office/drawing/2014/main" id="{1CA9FD33-0BBE-4922-97AA-0A2ACD92A3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Placeholder 16"/>
          <p:cNvPicPr>
            <a:picLocks noGrp="1" noChangeAspect="1"/>
          </p:cNvPicPr>
          <p:nvPr>
            <p:ph type="pic" sz="quarter" idx="20"/>
          </p:nvPr>
        </p:nvPicPr>
        <p:blipFill>
          <a:blip r:embed="rId6">
            <a:extLst>
              <a:ext uri="{28A0092B-C50C-407E-A947-70E740481C1C}">
                <a14:useLocalDpi xmlns:a14="http://schemas.microsoft.com/office/drawing/2010/main" val="0"/>
              </a:ext>
            </a:extLst>
          </a:blip>
          <a:srcRect l="10098" r="10098"/>
          <a:stretch>
            <a:fillRect/>
          </a:stretch>
        </p:blipFill>
        <p:spPr>
          <a:xfrm>
            <a:off x="11083124" y="3551877"/>
            <a:ext cx="2821627" cy="2821625"/>
          </a:xfrm>
        </p:spPr>
      </p:pic>
      <p:pic>
        <p:nvPicPr>
          <p:cNvPr id="18" name="Picture Placeholder 17"/>
          <p:cNvPicPr>
            <a:picLocks noGrp="1" noChangeAspect="1"/>
          </p:cNvPicPr>
          <p:nvPr>
            <p:ph type="pic" sz="quarter" idx="21"/>
          </p:nvPr>
        </p:nvPicPr>
        <p:blipFill>
          <a:blip r:embed="rId7">
            <a:extLst>
              <a:ext uri="{28A0092B-C50C-407E-A947-70E740481C1C}">
                <a14:useLocalDpi xmlns:a14="http://schemas.microsoft.com/office/drawing/2010/main" val="0"/>
              </a:ext>
            </a:extLst>
          </a:blip>
          <a:srcRect l="9911" r="9911"/>
          <a:stretch>
            <a:fillRect/>
          </a:stretch>
        </p:blipFill>
        <p:spPr/>
      </p:pic>
      <p:sp>
        <p:nvSpPr>
          <p:cNvPr id="22" name="TextBox 21"/>
          <p:cNvSpPr txBox="1"/>
          <p:nvPr/>
        </p:nvSpPr>
        <p:spPr>
          <a:xfrm>
            <a:off x="2777109" y="3193301"/>
            <a:ext cx="6776486" cy="615553"/>
          </a:xfrm>
          <a:prstGeom prst="rect">
            <a:avLst/>
          </a:prstGeom>
          <a:noFill/>
        </p:spPr>
        <p:txBody>
          <a:bodyPr wrap="square" lIns="0" tIns="0" rIns="0" bIns="0" rtlCol="0">
            <a:spAutoFit/>
          </a:bodyPr>
          <a:lstStyle/>
          <a:p>
            <a:pPr algn="ctr"/>
            <a:r>
              <a:rPr lang="en-GB" sz="4000">
                <a:solidFill>
                  <a:srgbClr val="333333"/>
                </a:solidFill>
                <a:latin typeface="Helvetica Neue" charset="0"/>
              </a:rPr>
              <a:t>Questions?</a:t>
            </a:r>
            <a:endParaRPr lang="en-GB" sz="4000" dirty="0">
              <a:latin typeface="EC Square Sans Pro" panose="020B0506040000020004" pitchFamily="34" charset="0"/>
            </a:endParaRPr>
          </a:p>
        </p:txBody>
      </p:sp>
      <p:sp>
        <p:nvSpPr>
          <p:cNvPr id="10" name="Flowchart: Document 18"/>
          <p:cNvSpPr/>
          <p:nvPr/>
        </p:nvSpPr>
        <p:spPr>
          <a:xfrm rot="10800000">
            <a:off x="9223192" y="6232949"/>
            <a:ext cx="3719865" cy="941023"/>
          </a:xfrm>
          <a:custGeom>
            <a:avLst/>
            <a:gdLst>
              <a:gd name="connsiteX0" fmla="*/ 0 w 21600"/>
              <a:gd name="connsiteY0" fmla="*/ 0 h 21600"/>
              <a:gd name="connsiteX1" fmla="*/ 21600 w 21600"/>
              <a:gd name="connsiteY1" fmla="*/ 0 h 21600"/>
              <a:gd name="connsiteX2" fmla="*/ 21600 w 21600"/>
              <a:gd name="connsiteY2" fmla="*/ 17322 h 21600"/>
              <a:gd name="connsiteX3" fmla="*/ 0 w 21600"/>
              <a:gd name="connsiteY3" fmla="*/ 20172 h 21600"/>
              <a:gd name="connsiteX4" fmla="*/ 0 w 21600"/>
              <a:gd name="connsiteY4" fmla="*/ 0 h 21600"/>
              <a:gd name="connsiteX0" fmla="*/ 0 w 34127"/>
              <a:gd name="connsiteY0" fmla="*/ 0 h 21324"/>
              <a:gd name="connsiteX1" fmla="*/ 34127 w 34127"/>
              <a:gd name="connsiteY1" fmla="*/ 0 h 21324"/>
              <a:gd name="connsiteX2" fmla="*/ 21600 w 34127"/>
              <a:gd name="connsiteY2" fmla="*/ 17322 h 21324"/>
              <a:gd name="connsiteX3" fmla="*/ 0 w 34127"/>
              <a:gd name="connsiteY3" fmla="*/ 20172 h 21324"/>
              <a:gd name="connsiteX4" fmla="*/ 0 w 34127"/>
              <a:gd name="connsiteY4" fmla="*/ 0 h 21324"/>
              <a:gd name="connsiteX0" fmla="*/ 0 w 34127"/>
              <a:gd name="connsiteY0" fmla="*/ 0 h 20746"/>
              <a:gd name="connsiteX1" fmla="*/ 34127 w 34127"/>
              <a:gd name="connsiteY1" fmla="*/ 0 h 20746"/>
              <a:gd name="connsiteX2" fmla="*/ 28813 w 34127"/>
              <a:gd name="connsiteY2" fmla="*/ 8087 h 20746"/>
              <a:gd name="connsiteX3" fmla="*/ 0 w 34127"/>
              <a:gd name="connsiteY3" fmla="*/ 20172 h 20746"/>
              <a:gd name="connsiteX4" fmla="*/ 0 w 34127"/>
              <a:gd name="connsiteY4" fmla="*/ 0 h 20746"/>
              <a:gd name="connsiteX0" fmla="*/ 0 w 45263"/>
              <a:gd name="connsiteY0" fmla="*/ 13852 h 20746"/>
              <a:gd name="connsiteX1" fmla="*/ 45263 w 45263"/>
              <a:gd name="connsiteY1" fmla="*/ 0 h 20746"/>
              <a:gd name="connsiteX2" fmla="*/ 39949 w 45263"/>
              <a:gd name="connsiteY2" fmla="*/ 8087 h 20746"/>
              <a:gd name="connsiteX3" fmla="*/ 11136 w 45263"/>
              <a:gd name="connsiteY3" fmla="*/ 20172 h 20746"/>
              <a:gd name="connsiteX4" fmla="*/ 0 w 45263"/>
              <a:gd name="connsiteY4" fmla="*/ 13852 h 20746"/>
              <a:gd name="connsiteX0" fmla="*/ 0 w 39949"/>
              <a:gd name="connsiteY0" fmla="*/ 13250 h 20144"/>
              <a:gd name="connsiteX1" fmla="*/ 11224 w 39949"/>
              <a:gd name="connsiteY1" fmla="*/ 0 h 20144"/>
              <a:gd name="connsiteX2" fmla="*/ 39949 w 39949"/>
              <a:gd name="connsiteY2" fmla="*/ 7485 h 20144"/>
              <a:gd name="connsiteX3" fmla="*/ 11136 w 39949"/>
              <a:gd name="connsiteY3" fmla="*/ 19570 h 20144"/>
              <a:gd name="connsiteX4" fmla="*/ 0 w 39949"/>
              <a:gd name="connsiteY4" fmla="*/ 13250 h 20144"/>
              <a:gd name="connsiteX0" fmla="*/ 0 w 37039"/>
              <a:gd name="connsiteY0" fmla="*/ 15258 h 20144"/>
              <a:gd name="connsiteX1" fmla="*/ 8314 w 37039"/>
              <a:gd name="connsiteY1" fmla="*/ 0 h 20144"/>
              <a:gd name="connsiteX2" fmla="*/ 37039 w 37039"/>
              <a:gd name="connsiteY2" fmla="*/ 7485 h 20144"/>
              <a:gd name="connsiteX3" fmla="*/ 8226 w 37039"/>
              <a:gd name="connsiteY3" fmla="*/ 19570 h 20144"/>
              <a:gd name="connsiteX4" fmla="*/ 0 w 37039"/>
              <a:gd name="connsiteY4" fmla="*/ 15258 h 20144"/>
              <a:gd name="connsiteX0" fmla="*/ 0 w 37039"/>
              <a:gd name="connsiteY0" fmla="*/ 13250 h 18136"/>
              <a:gd name="connsiteX1" fmla="*/ 89 w 37039"/>
              <a:gd name="connsiteY1" fmla="*/ 0 h 18136"/>
              <a:gd name="connsiteX2" fmla="*/ 37039 w 37039"/>
              <a:gd name="connsiteY2" fmla="*/ 5477 h 18136"/>
              <a:gd name="connsiteX3" fmla="*/ 8226 w 37039"/>
              <a:gd name="connsiteY3" fmla="*/ 17562 h 18136"/>
              <a:gd name="connsiteX4" fmla="*/ 0 w 37039"/>
              <a:gd name="connsiteY4" fmla="*/ 13250 h 18136"/>
              <a:gd name="connsiteX0" fmla="*/ 0 w 37039"/>
              <a:gd name="connsiteY0" fmla="*/ 12447 h 17333"/>
              <a:gd name="connsiteX1" fmla="*/ 89 w 37039"/>
              <a:gd name="connsiteY1" fmla="*/ 0 h 17333"/>
              <a:gd name="connsiteX2" fmla="*/ 37039 w 37039"/>
              <a:gd name="connsiteY2" fmla="*/ 4674 h 17333"/>
              <a:gd name="connsiteX3" fmla="*/ 8226 w 37039"/>
              <a:gd name="connsiteY3" fmla="*/ 16759 h 17333"/>
              <a:gd name="connsiteX4" fmla="*/ 0 w 37039"/>
              <a:gd name="connsiteY4" fmla="*/ 12447 h 17333"/>
              <a:gd name="connsiteX0" fmla="*/ 0 w 37039"/>
              <a:gd name="connsiteY0" fmla="*/ 12447 h 16556"/>
              <a:gd name="connsiteX1" fmla="*/ 89 w 37039"/>
              <a:gd name="connsiteY1" fmla="*/ 0 h 16556"/>
              <a:gd name="connsiteX2" fmla="*/ 37039 w 37039"/>
              <a:gd name="connsiteY2" fmla="*/ 4674 h 16556"/>
              <a:gd name="connsiteX3" fmla="*/ 13035 w 37039"/>
              <a:gd name="connsiteY3" fmla="*/ 15956 h 16556"/>
              <a:gd name="connsiteX4" fmla="*/ 0 w 37039"/>
              <a:gd name="connsiteY4" fmla="*/ 12447 h 16556"/>
              <a:gd name="connsiteX0" fmla="*/ 0 w 37039"/>
              <a:gd name="connsiteY0" fmla="*/ 12447 h 16007"/>
              <a:gd name="connsiteX1" fmla="*/ 89 w 37039"/>
              <a:gd name="connsiteY1" fmla="*/ 0 h 16007"/>
              <a:gd name="connsiteX2" fmla="*/ 37039 w 37039"/>
              <a:gd name="connsiteY2" fmla="*/ 4674 h 16007"/>
              <a:gd name="connsiteX3" fmla="*/ 13035 w 37039"/>
              <a:gd name="connsiteY3" fmla="*/ 15956 h 16007"/>
              <a:gd name="connsiteX4" fmla="*/ 0 w 37039"/>
              <a:gd name="connsiteY4" fmla="*/ 12447 h 16007"/>
              <a:gd name="connsiteX0" fmla="*/ 44 w 36956"/>
              <a:gd name="connsiteY0" fmla="*/ 14856 h 16007"/>
              <a:gd name="connsiteX1" fmla="*/ 6 w 36956"/>
              <a:gd name="connsiteY1" fmla="*/ 0 h 16007"/>
              <a:gd name="connsiteX2" fmla="*/ 36956 w 36956"/>
              <a:gd name="connsiteY2" fmla="*/ 4674 h 16007"/>
              <a:gd name="connsiteX3" fmla="*/ 12952 w 36956"/>
              <a:gd name="connsiteY3" fmla="*/ 15956 h 16007"/>
              <a:gd name="connsiteX4" fmla="*/ 44 w 36956"/>
              <a:gd name="connsiteY4" fmla="*/ 14856 h 16007"/>
              <a:gd name="connsiteX0" fmla="*/ 44 w 36956"/>
              <a:gd name="connsiteY0" fmla="*/ 14856 h 15375"/>
              <a:gd name="connsiteX1" fmla="*/ 6 w 36956"/>
              <a:gd name="connsiteY1" fmla="*/ 0 h 15375"/>
              <a:gd name="connsiteX2" fmla="*/ 36956 w 36956"/>
              <a:gd name="connsiteY2" fmla="*/ 4674 h 15375"/>
              <a:gd name="connsiteX3" fmla="*/ 16719 w 36956"/>
              <a:gd name="connsiteY3" fmla="*/ 15321 h 15375"/>
              <a:gd name="connsiteX4" fmla="*/ 44 w 36956"/>
              <a:gd name="connsiteY4" fmla="*/ 14856 h 15375"/>
              <a:gd name="connsiteX0" fmla="*/ 44 w 36956"/>
              <a:gd name="connsiteY0" fmla="*/ 14856 h 15338"/>
              <a:gd name="connsiteX1" fmla="*/ 6 w 36956"/>
              <a:gd name="connsiteY1" fmla="*/ 0 h 15338"/>
              <a:gd name="connsiteX2" fmla="*/ 36956 w 36956"/>
              <a:gd name="connsiteY2" fmla="*/ 4674 h 15338"/>
              <a:gd name="connsiteX3" fmla="*/ 15424 w 36956"/>
              <a:gd name="connsiteY3" fmla="*/ 15284 h 15338"/>
              <a:gd name="connsiteX4" fmla="*/ 44 w 36956"/>
              <a:gd name="connsiteY4" fmla="*/ 14856 h 15338"/>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5602"/>
              <a:gd name="connsiteX1" fmla="*/ 6 w 36956"/>
              <a:gd name="connsiteY1" fmla="*/ 0 h 15602"/>
              <a:gd name="connsiteX2" fmla="*/ 36956 w 36956"/>
              <a:gd name="connsiteY2" fmla="*/ 4674 h 15602"/>
              <a:gd name="connsiteX3" fmla="*/ 15424 w 36956"/>
              <a:gd name="connsiteY3" fmla="*/ 15284 h 15602"/>
              <a:gd name="connsiteX4" fmla="*/ 44 w 36956"/>
              <a:gd name="connsiteY4" fmla="*/ 14856 h 15602"/>
              <a:gd name="connsiteX0" fmla="*/ 44 w 36956"/>
              <a:gd name="connsiteY0" fmla="*/ 14856 h 14981"/>
              <a:gd name="connsiteX1" fmla="*/ 6 w 36956"/>
              <a:gd name="connsiteY1" fmla="*/ 0 h 14981"/>
              <a:gd name="connsiteX2" fmla="*/ 36956 w 36956"/>
              <a:gd name="connsiteY2" fmla="*/ 4674 h 14981"/>
              <a:gd name="connsiteX3" fmla="*/ 16837 w 36956"/>
              <a:gd name="connsiteY3" fmla="*/ 14649 h 14981"/>
              <a:gd name="connsiteX4" fmla="*/ 44 w 36956"/>
              <a:gd name="connsiteY4" fmla="*/ 14856 h 14981"/>
              <a:gd name="connsiteX0" fmla="*/ 44 w 36956"/>
              <a:gd name="connsiteY0" fmla="*/ 14856 h 15200"/>
              <a:gd name="connsiteX1" fmla="*/ 6 w 36956"/>
              <a:gd name="connsiteY1" fmla="*/ 0 h 15200"/>
              <a:gd name="connsiteX2" fmla="*/ 36956 w 36956"/>
              <a:gd name="connsiteY2" fmla="*/ 4674 h 15200"/>
              <a:gd name="connsiteX3" fmla="*/ 16107 w 36956"/>
              <a:gd name="connsiteY3" fmla="*/ 14873 h 15200"/>
              <a:gd name="connsiteX4" fmla="*/ 44 w 36956"/>
              <a:gd name="connsiteY4" fmla="*/ 14856 h 15200"/>
              <a:gd name="connsiteX0" fmla="*/ 44 w 36956"/>
              <a:gd name="connsiteY0" fmla="*/ 14856 h 14875"/>
              <a:gd name="connsiteX1" fmla="*/ 6 w 36956"/>
              <a:gd name="connsiteY1" fmla="*/ 0 h 14875"/>
              <a:gd name="connsiteX2" fmla="*/ 36956 w 36956"/>
              <a:gd name="connsiteY2" fmla="*/ 4674 h 14875"/>
              <a:gd name="connsiteX3" fmla="*/ 16107 w 36956"/>
              <a:gd name="connsiteY3" fmla="*/ 14873 h 14875"/>
              <a:gd name="connsiteX4" fmla="*/ 44 w 36956"/>
              <a:gd name="connsiteY4" fmla="*/ 1485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 name="connsiteX0" fmla="*/ 0 w 37064"/>
              <a:gd name="connsiteY0" fmla="*/ 12206 h 14875"/>
              <a:gd name="connsiteX1" fmla="*/ 114 w 37064"/>
              <a:gd name="connsiteY1" fmla="*/ 0 h 14875"/>
              <a:gd name="connsiteX2" fmla="*/ 37064 w 37064"/>
              <a:gd name="connsiteY2" fmla="*/ 4674 h 14875"/>
              <a:gd name="connsiteX3" fmla="*/ 16215 w 37064"/>
              <a:gd name="connsiteY3" fmla="*/ 14873 h 14875"/>
              <a:gd name="connsiteX4" fmla="*/ 0 w 37064"/>
              <a:gd name="connsiteY4" fmla="*/ 12206 h 1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4" h="14875">
                <a:moveTo>
                  <a:pt x="0" y="12206"/>
                </a:moveTo>
                <a:cubicBezTo>
                  <a:pt x="30" y="7789"/>
                  <a:pt x="84" y="4417"/>
                  <a:pt x="114" y="0"/>
                </a:cubicBezTo>
                <a:cubicBezTo>
                  <a:pt x="114" y="5774"/>
                  <a:pt x="37064" y="-1100"/>
                  <a:pt x="37064" y="4674"/>
                </a:cubicBezTo>
                <a:cubicBezTo>
                  <a:pt x="28542" y="4915"/>
                  <a:pt x="29419" y="15052"/>
                  <a:pt x="16215" y="14873"/>
                </a:cubicBezTo>
                <a:cubicBezTo>
                  <a:pt x="4653" y="14108"/>
                  <a:pt x="3457" y="10582"/>
                  <a:pt x="0" y="1220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2" name="Picture 1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75233" y="6313020"/>
            <a:ext cx="1432463" cy="376058"/>
          </a:xfrm>
          <a:prstGeom prst="rect">
            <a:avLst/>
          </a:prstGeom>
        </p:spPr>
      </p:pic>
      <p:pic>
        <p:nvPicPr>
          <p:cNvPr id="20" name="Picture Placeholder 19" descr="A picture containing indoor, light&#10;&#10;Description automatically generated">
            <a:extLst>
              <a:ext uri="{FF2B5EF4-FFF2-40B4-BE49-F238E27FC236}">
                <a16:creationId xmlns:a16="http://schemas.microsoft.com/office/drawing/2014/main" id="{A198A776-92F3-40B7-9144-C55AF2F5D517}"/>
              </a:ext>
            </a:extLst>
          </p:cNvPr>
          <p:cNvPicPr>
            <a:picLocks noGrp="1" noChangeAspect="1"/>
          </p:cNvPicPr>
          <p:nvPr>
            <p:ph type="pic" sz="quarter" idx="19"/>
          </p:nvPr>
        </p:nvPicPr>
        <p:blipFill>
          <a:blip r:embed="rId9"/>
          <a:srcRect l="12521" r="12521"/>
          <a:stretch>
            <a:fillRect/>
          </a:stretch>
        </p:blipFill>
        <p:spPr/>
      </p:pic>
      <p:pic>
        <p:nvPicPr>
          <p:cNvPr id="15" name="Picture Placeholder 14" descr="A picture containing light, blur&#10;&#10;Description automatically generated">
            <a:extLst>
              <a:ext uri="{FF2B5EF4-FFF2-40B4-BE49-F238E27FC236}">
                <a16:creationId xmlns:a16="http://schemas.microsoft.com/office/drawing/2014/main" id="{95569BB1-B5F4-469A-B881-993D720BD1E0}"/>
              </a:ext>
            </a:extLst>
          </p:cNvPr>
          <p:cNvPicPr>
            <a:picLocks noGrp="1" noChangeAspect="1"/>
          </p:cNvPicPr>
          <p:nvPr>
            <p:ph type="pic" sz="quarter" idx="17"/>
          </p:nvPr>
        </p:nvPicPr>
        <p:blipFill>
          <a:blip r:embed="rId10"/>
          <a:srcRect l="16687" r="16687"/>
          <a:stretch>
            <a:fillRect/>
          </a:stretch>
        </p:blipFill>
        <p:spPr/>
      </p:pic>
      <p:pic>
        <p:nvPicPr>
          <p:cNvPr id="23" name="Picture Placeholder 22" descr="A picture containing text, blur&#10;&#10;Description automatically generated">
            <a:extLst>
              <a:ext uri="{FF2B5EF4-FFF2-40B4-BE49-F238E27FC236}">
                <a16:creationId xmlns:a16="http://schemas.microsoft.com/office/drawing/2014/main" id="{2302BC2E-6591-47F4-8CB2-C749BC2A3868}"/>
              </a:ext>
            </a:extLst>
          </p:cNvPr>
          <p:cNvPicPr>
            <a:picLocks noGrp="1" noChangeAspect="1"/>
          </p:cNvPicPr>
          <p:nvPr>
            <p:ph type="pic" sz="quarter" idx="23"/>
          </p:nvPr>
        </p:nvPicPr>
        <p:blipFill>
          <a:blip r:embed="rId11"/>
          <a:srcRect t="12546" b="12546"/>
          <a:stretch>
            <a:fillRect/>
          </a:stretch>
        </p:blipFill>
        <p:spPr/>
      </p:pic>
      <p:pic>
        <p:nvPicPr>
          <p:cNvPr id="27" name="Picture Placeholder 26">
            <a:extLst>
              <a:ext uri="{FF2B5EF4-FFF2-40B4-BE49-F238E27FC236}">
                <a16:creationId xmlns:a16="http://schemas.microsoft.com/office/drawing/2014/main" id="{B946C605-8E4E-4E2C-9364-A87B6B8BE76A}"/>
              </a:ext>
            </a:extLst>
          </p:cNvPr>
          <p:cNvPicPr>
            <a:picLocks noGrp="1" noChangeAspect="1"/>
          </p:cNvPicPr>
          <p:nvPr>
            <p:ph type="pic" sz="quarter" idx="22"/>
          </p:nvPr>
        </p:nvPicPr>
        <p:blipFill>
          <a:blip r:embed="rId12"/>
          <a:srcRect l="12454" r="12454"/>
          <a:stretch>
            <a:fillRect/>
          </a:stretch>
        </p:blipFill>
        <p:spPr>
          <a:xfrm>
            <a:off x="8361965" y="3731823"/>
            <a:ext cx="1304263" cy="1304262"/>
          </a:xfrm>
        </p:spPr>
      </p:pic>
      <p:pic>
        <p:nvPicPr>
          <p:cNvPr id="19" name="Picture Placeholder 26" descr="A picture containing text, blur&#10;&#10;Description automatically generated">
            <a:extLst>
              <a:ext uri="{FF2B5EF4-FFF2-40B4-BE49-F238E27FC236}">
                <a16:creationId xmlns:a16="http://schemas.microsoft.com/office/drawing/2014/main" id="{3EA6D83B-5820-4AA2-8177-2B5D7DCD4CA4}"/>
              </a:ext>
            </a:extLst>
          </p:cNvPr>
          <p:cNvPicPr>
            <a:picLocks noChangeAspect="1"/>
          </p:cNvPicPr>
          <p:nvPr/>
        </p:nvPicPr>
        <p:blipFill>
          <a:blip r:embed="rId11"/>
          <a:srcRect t="12500" b="12500"/>
          <a:stretch>
            <a:fillRect/>
          </a:stretch>
        </p:blipFill>
        <p:spPr>
          <a:xfrm>
            <a:off x="-1415832" y="-6130"/>
            <a:ext cx="2833886" cy="2833885"/>
          </a:xfrm>
          <a:custGeom>
            <a:avLst/>
            <a:gdLst>
              <a:gd name="connsiteX0" fmla="*/ 1090639 w 2181277"/>
              <a:gd name="connsiteY0" fmla="*/ 0 h 2181277"/>
              <a:gd name="connsiteX1" fmla="*/ 1530401 w 2181277"/>
              <a:gd name="connsiteY1" fmla="*/ 181378 h 2181277"/>
              <a:gd name="connsiteX2" fmla="*/ 1999900 w 2181277"/>
              <a:gd name="connsiteY2" fmla="*/ 650877 h 2181277"/>
              <a:gd name="connsiteX3" fmla="*/ 1999900 w 2181277"/>
              <a:gd name="connsiteY3" fmla="*/ 1530401 h 2181277"/>
              <a:gd name="connsiteX4" fmla="*/ 1530401 w 2181277"/>
              <a:gd name="connsiteY4" fmla="*/ 1999900 h 2181277"/>
              <a:gd name="connsiteX5" fmla="*/ 650877 w 2181277"/>
              <a:gd name="connsiteY5" fmla="*/ 1999900 h 2181277"/>
              <a:gd name="connsiteX6" fmla="*/ 181378 w 2181277"/>
              <a:gd name="connsiteY6" fmla="*/ 1530401 h 2181277"/>
              <a:gd name="connsiteX7" fmla="*/ 181378 w 2181277"/>
              <a:gd name="connsiteY7" fmla="*/ 650877 h 2181277"/>
              <a:gd name="connsiteX8" fmla="*/ 650877 w 2181277"/>
              <a:gd name="connsiteY8" fmla="*/ 181378 h 2181277"/>
              <a:gd name="connsiteX9" fmla="*/ 1090639 w 2181277"/>
              <a:gd name="connsiteY9" fmla="*/ 0 h 218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1277" h="2181277">
                <a:moveTo>
                  <a:pt x="1090639" y="0"/>
                </a:moveTo>
                <a:cubicBezTo>
                  <a:pt x="1250061" y="0"/>
                  <a:pt x="1409483" y="60459"/>
                  <a:pt x="1530401" y="181378"/>
                </a:cubicBezTo>
                <a:lnTo>
                  <a:pt x="1999900" y="650877"/>
                </a:lnTo>
                <a:cubicBezTo>
                  <a:pt x="2241737" y="892714"/>
                  <a:pt x="2241737" y="1288564"/>
                  <a:pt x="1999900" y="1530401"/>
                </a:cubicBezTo>
                <a:lnTo>
                  <a:pt x="1530401" y="1999900"/>
                </a:lnTo>
                <a:cubicBezTo>
                  <a:pt x="1288564" y="2241737"/>
                  <a:pt x="892714" y="2241737"/>
                  <a:pt x="650877" y="1999900"/>
                </a:cubicBezTo>
                <a:lnTo>
                  <a:pt x="181378" y="1530401"/>
                </a:lnTo>
                <a:cubicBezTo>
                  <a:pt x="-60459" y="1288564"/>
                  <a:pt x="-60459" y="892714"/>
                  <a:pt x="181378" y="650877"/>
                </a:cubicBezTo>
                <a:lnTo>
                  <a:pt x="650877" y="181378"/>
                </a:lnTo>
                <a:cubicBezTo>
                  <a:pt x="771796" y="60459"/>
                  <a:pt x="931217" y="0"/>
                  <a:pt x="1090639" y="0"/>
                </a:cubicBezTo>
                <a:close/>
              </a:path>
            </a:pathLst>
          </a:custGeom>
        </p:spPr>
      </p:pic>
    </p:spTree>
    <p:extLst>
      <p:ext uri="{BB962C8B-B14F-4D97-AF65-F5344CB8AC3E}">
        <p14:creationId xmlns:p14="http://schemas.microsoft.com/office/powerpoint/2010/main" val="150336839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43531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6279F6D-F230-4871-BB45-826A3814552D}"/>
              </a:ext>
            </a:extLst>
          </p:cNvPr>
          <p:cNvGraphicFramePr>
            <a:graphicFrameLocks noChangeAspect="1"/>
          </p:cNvGraphicFramePr>
          <p:nvPr>
            <p:custDataLst>
              <p:tags r:id="rId1"/>
            </p:custDataLst>
            <p:extLst>
              <p:ext uri="{D42A27DB-BD31-4B8C-83A1-F6EECF244321}">
                <p14:modId xmlns:p14="http://schemas.microsoft.com/office/powerpoint/2010/main" val="34986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4" name="Object 13" hidden="1">
                        <a:extLst>
                          <a:ext uri="{FF2B5EF4-FFF2-40B4-BE49-F238E27FC236}">
                            <a16:creationId xmlns:a16="http://schemas.microsoft.com/office/drawing/2014/main" id="{26279F6D-F230-4871-BB45-826A381455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70039309-169A-43F7-A143-425D99A20D6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a:gradFill flip="none" rotWithShape="1">
            <a:gsLst>
              <a:gs pos="48000">
                <a:srgbClr val="43C0BA"/>
              </a:gs>
              <a:gs pos="24000">
                <a:srgbClr val="1759A9"/>
              </a:gs>
              <a:gs pos="0">
                <a:srgbClr val="288EBF"/>
              </a:gs>
              <a:gs pos="89000">
                <a:srgbClr val="F49222"/>
              </a:gs>
              <a:gs pos="68000">
                <a:srgbClr val="C3DB63"/>
              </a:gs>
            </a:gsLst>
            <a:path path="circle">
              <a:fillToRect l="100000" t="100000"/>
            </a:path>
            <a:tileRect r="-100000" b="-100000"/>
          </a:gradFill>
          <a:ln w="25400" cap="flat">
            <a:noFill/>
            <a:miter lim="800000"/>
            <a:headEnd type="none" w="med" len="med"/>
            <a:tailEnd type="none" w="med" len="med"/>
          </a:ln>
        </p:spPr>
      </p:pic>
      <p:sp>
        <p:nvSpPr>
          <p:cNvPr id="3" name="Rectangle 2">
            <a:extLst>
              <a:ext uri="{FF2B5EF4-FFF2-40B4-BE49-F238E27FC236}">
                <a16:creationId xmlns:a16="http://schemas.microsoft.com/office/drawing/2014/main" id="{440EBE2C-CB70-406F-A266-77A60607CF6B}"/>
              </a:ext>
            </a:extLst>
          </p:cNvPr>
          <p:cNvSpPr/>
          <p:nvPr/>
        </p:nvSpPr>
        <p:spPr>
          <a:xfrm>
            <a:off x="5606143" y="6669157"/>
            <a:ext cx="696508" cy="188843"/>
          </a:xfrm>
          <a:prstGeom prst="rect">
            <a:avLst/>
          </a:prstGeom>
          <a:solidFill>
            <a:srgbClr val="034DA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4" name="Picture 3">
            <a:extLst>
              <a:ext uri="{FF2B5EF4-FFF2-40B4-BE49-F238E27FC236}">
                <a16:creationId xmlns:a16="http://schemas.microsoft.com/office/drawing/2014/main" id="{6D400B9E-FAA9-4796-BF18-5DE70944047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596067" y="3125481"/>
            <a:ext cx="4948425" cy="1763264"/>
          </a:xfrm>
          <a:prstGeom prst="rect">
            <a:avLst/>
          </a:prstGeom>
        </p:spPr>
      </p:pic>
      <p:sp>
        <p:nvSpPr>
          <p:cNvPr id="5" name="Shape 3870">
            <a:extLst>
              <a:ext uri="{FF2B5EF4-FFF2-40B4-BE49-F238E27FC236}">
                <a16:creationId xmlns:a16="http://schemas.microsoft.com/office/drawing/2014/main" id="{4D206905-1F28-4002-9089-BEA45DB5821C}"/>
              </a:ext>
            </a:extLst>
          </p:cNvPr>
          <p:cNvSpPr/>
          <p:nvPr/>
        </p:nvSpPr>
        <p:spPr>
          <a:xfrm>
            <a:off x="1966387" y="4744270"/>
            <a:ext cx="385926" cy="28067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3"/>
                  <a:pt x="19964" y="1433"/>
                </a:cubicBezTo>
                <a:lnTo>
                  <a:pt x="11465" y="13118"/>
                </a:lnTo>
                <a:cubicBezTo>
                  <a:pt x="11288" y="13363"/>
                  <a:pt x="11051" y="13497"/>
                  <a:pt x="10800" y="13497"/>
                </a:cubicBezTo>
                <a:cubicBezTo>
                  <a:pt x="10549" y="13497"/>
                  <a:pt x="10312" y="13363"/>
                  <a:pt x="10134" y="13118"/>
                </a:cubicBezTo>
                <a:lnTo>
                  <a:pt x="1637" y="1433"/>
                </a:lnTo>
                <a:cubicBezTo>
                  <a:pt x="1739" y="1383"/>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bg1"/>
          </a:solidFill>
          <a:ln w="12700">
            <a:miter lim="400000"/>
          </a:ln>
        </p:spPr>
        <p:txBody>
          <a:bodyPr lIns="38100" tIns="38100" rIns="38100" bIns="38100" anchor="ctr"/>
          <a:lstStyle/>
          <a:p>
            <a:endParaRPr lang="en-GB" dirty="0">
              <a:solidFill>
                <a:prstClr val="black"/>
              </a:solidFill>
              <a:latin typeface="EC Square Sans Pro" panose="020B0506040000020004" pitchFamily="34" charset="0"/>
            </a:endParaRPr>
          </a:p>
        </p:txBody>
      </p:sp>
      <p:sp>
        <p:nvSpPr>
          <p:cNvPr id="6" name="Shape 3893">
            <a:extLst>
              <a:ext uri="{FF2B5EF4-FFF2-40B4-BE49-F238E27FC236}">
                <a16:creationId xmlns:a16="http://schemas.microsoft.com/office/drawing/2014/main" id="{85192CCA-6FA9-4380-BA9D-B8EFBE970D50}"/>
              </a:ext>
            </a:extLst>
          </p:cNvPr>
          <p:cNvSpPr/>
          <p:nvPr/>
        </p:nvSpPr>
        <p:spPr>
          <a:xfrm>
            <a:off x="1916959" y="3690314"/>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5929" y="7018"/>
                </a:moveTo>
                <a:cubicBezTo>
                  <a:pt x="15539" y="7246"/>
                  <a:pt x="15108" y="7411"/>
                  <a:pt x="14650" y="7500"/>
                </a:cubicBezTo>
                <a:cubicBezTo>
                  <a:pt x="14282" y="7114"/>
                  <a:pt x="13759" y="6874"/>
                  <a:pt x="13179" y="6874"/>
                </a:cubicBezTo>
                <a:cubicBezTo>
                  <a:pt x="12067" y="6874"/>
                  <a:pt x="11165" y="7762"/>
                  <a:pt x="11165" y="8856"/>
                </a:cubicBezTo>
                <a:cubicBezTo>
                  <a:pt x="11165" y="9012"/>
                  <a:pt x="11183" y="9162"/>
                  <a:pt x="11217" y="9308"/>
                </a:cubicBezTo>
                <a:cubicBezTo>
                  <a:pt x="9543" y="9226"/>
                  <a:pt x="8059" y="8436"/>
                  <a:pt x="7065" y="7236"/>
                </a:cubicBezTo>
                <a:cubicBezTo>
                  <a:pt x="6892" y="7530"/>
                  <a:pt x="6793" y="7870"/>
                  <a:pt x="6793" y="8233"/>
                </a:cubicBezTo>
                <a:cubicBezTo>
                  <a:pt x="6793" y="8921"/>
                  <a:pt x="7148" y="9528"/>
                  <a:pt x="7689" y="9883"/>
                </a:cubicBezTo>
                <a:cubicBezTo>
                  <a:pt x="7359" y="9873"/>
                  <a:pt x="7048" y="9784"/>
                  <a:pt x="6776" y="9635"/>
                </a:cubicBezTo>
                <a:cubicBezTo>
                  <a:pt x="6776" y="9644"/>
                  <a:pt x="6776" y="9651"/>
                  <a:pt x="6776" y="9660"/>
                </a:cubicBezTo>
                <a:cubicBezTo>
                  <a:pt x="6776" y="10621"/>
                  <a:pt x="7471" y="11422"/>
                  <a:pt x="8392" y="11604"/>
                </a:cubicBezTo>
                <a:cubicBezTo>
                  <a:pt x="8223" y="11650"/>
                  <a:pt x="8045" y="11673"/>
                  <a:pt x="7861" y="11673"/>
                </a:cubicBezTo>
                <a:cubicBezTo>
                  <a:pt x="7732" y="11673"/>
                  <a:pt x="7605" y="11661"/>
                  <a:pt x="7483" y="11638"/>
                </a:cubicBezTo>
                <a:cubicBezTo>
                  <a:pt x="7739" y="12426"/>
                  <a:pt x="8483" y="12999"/>
                  <a:pt x="9364" y="13015"/>
                </a:cubicBezTo>
                <a:cubicBezTo>
                  <a:pt x="8674" y="13547"/>
                  <a:pt x="7806" y="13863"/>
                  <a:pt x="6862" y="13863"/>
                </a:cubicBezTo>
                <a:cubicBezTo>
                  <a:pt x="6699" y="13863"/>
                  <a:pt x="6540" y="13855"/>
                  <a:pt x="6382" y="13837"/>
                </a:cubicBezTo>
                <a:cubicBezTo>
                  <a:pt x="7274" y="14398"/>
                  <a:pt x="8332" y="14727"/>
                  <a:pt x="9470" y="14727"/>
                </a:cubicBezTo>
                <a:cubicBezTo>
                  <a:pt x="13175" y="14727"/>
                  <a:pt x="15201" y="11706"/>
                  <a:pt x="15201" y="9086"/>
                </a:cubicBezTo>
                <a:cubicBezTo>
                  <a:pt x="15201" y="9000"/>
                  <a:pt x="15199" y="8915"/>
                  <a:pt x="15195" y="8830"/>
                </a:cubicBezTo>
                <a:cubicBezTo>
                  <a:pt x="15588" y="8550"/>
                  <a:pt x="15930" y="8201"/>
                  <a:pt x="16200" y="7804"/>
                </a:cubicBezTo>
                <a:cubicBezTo>
                  <a:pt x="15839" y="7961"/>
                  <a:pt x="15451" y="8067"/>
                  <a:pt x="15043" y="8115"/>
                </a:cubicBezTo>
                <a:cubicBezTo>
                  <a:pt x="15459" y="7870"/>
                  <a:pt x="15778" y="7482"/>
                  <a:pt x="15929" y="7018"/>
                </a:cubicBezTo>
              </a:path>
            </a:pathLst>
          </a:custGeom>
          <a:solidFill>
            <a:schemeClr val="bg1"/>
          </a:solidFill>
          <a:ln w="12700">
            <a:miter lim="400000"/>
          </a:ln>
        </p:spPr>
        <p:txBody>
          <a:bodyPr lIns="38100" tIns="38100" rIns="38100" bIns="38100" anchor="ctr"/>
          <a:lstStyle/>
          <a:p>
            <a:endParaRPr lang="en-GB" dirty="0">
              <a:solidFill>
                <a:prstClr val="black"/>
              </a:solidFill>
              <a:latin typeface="EC Square Sans Pro" panose="020B0506040000020004" pitchFamily="34" charset="0"/>
            </a:endParaRPr>
          </a:p>
        </p:txBody>
      </p:sp>
      <p:sp>
        <p:nvSpPr>
          <p:cNvPr id="7" name="Shape 3899">
            <a:extLst>
              <a:ext uri="{FF2B5EF4-FFF2-40B4-BE49-F238E27FC236}">
                <a16:creationId xmlns:a16="http://schemas.microsoft.com/office/drawing/2014/main" id="{0C4F294C-0B0F-4E49-AB1F-670F5881D3AE}"/>
              </a:ext>
            </a:extLst>
          </p:cNvPr>
          <p:cNvSpPr/>
          <p:nvPr/>
        </p:nvSpPr>
        <p:spPr>
          <a:xfrm>
            <a:off x="1940943" y="4217292"/>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0800" y="20618"/>
                </a:moveTo>
                <a:cubicBezTo>
                  <a:pt x="5377" y="20618"/>
                  <a:pt x="982" y="16223"/>
                  <a:pt x="982" y="10800"/>
                </a:cubicBezTo>
                <a:cubicBezTo>
                  <a:pt x="982" y="5378"/>
                  <a:pt x="5377" y="982"/>
                  <a:pt x="10800" y="982"/>
                </a:cubicBezTo>
                <a:cubicBezTo>
                  <a:pt x="16223" y="982"/>
                  <a:pt x="20618" y="5378"/>
                  <a:pt x="20618" y="10800"/>
                </a:cubicBezTo>
                <a:cubicBezTo>
                  <a:pt x="20618" y="16223"/>
                  <a:pt x="16223" y="20618"/>
                  <a:pt x="10800" y="20618"/>
                </a:cubicBezTo>
                <a:moveTo>
                  <a:pt x="10800" y="0"/>
                </a:moveTo>
                <a:cubicBezTo>
                  <a:pt x="4835" y="0"/>
                  <a:pt x="0" y="4835"/>
                  <a:pt x="0" y="10800"/>
                </a:cubicBezTo>
                <a:cubicBezTo>
                  <a:pt x="0" y="16765"/>
                  <a:pt x="4835" y="21600"/>
                  <a:pt x="10800" y="21600"/>
                </a:cubicBezTo>
                <a:cubicBezTo>
                  <a:pt x="16765" y="21600"/>
                  <a:pt x="21600" y="16765"/>
                  <a:pt x="21600" y="10800"/>
                </a:cubicBezTo>
                <a:cubicBezTo>
                  <a:pt x="21600" y="4835"/>
                  <a:pt x="16765" y="0"/>
                  <a:pt x="10800" y="0"/>
                </a:cubicBezTo>
                <a:moveTo>
                  <a:pt x="13430" y="9321"/>
                </a:moveTo>
                <a:cubicBezTo>
                  <a:pt x="11975" y="9321"/>
                  <a:pt x="11780" y="10196"/>
                  <a:pt x="11780" y="10196"/>
                </a:cubicBezTo>
                <a:lnTo>
                  <a:pt x="11782" y="9327"/>
                </a:lnTo>
                <a:lnTo>
                  <a:pt x="9818" y="9327"/>
                </a:lnTo>
                <a:lnTo>
                  <a:pt x="9818" y="14727"/>
                </a:lnTo>
                <a:lnTo>
                  <a:pt x="11782" y="14727"/>
                </a:lnTo>
                <a:lnTo>
                  <a:pt x="11782" y="11782"/>
                </a:lnTo>
                <a:cubicBezTo>
                  <a:pt x="11782" y="11782"/>
                  <a:pt x="11782" y="10793"/>
                  <a:pt x="12616" y="10793"/>
                </a:cubicBezTo>
                <a:cubicBezTo>
                  <a:pt x="13086" y="10793"/>
                  <a:pt x="13255" y="11232"/>
                  <a:pt x="13255" y="11782"/>
                </a:cubicBezTo>
                <a:lnTo>
                  <a:pt x="13255" y="14727"/>
                </a:lnTo>
                <a:lnTo>
                  <a:pt x="15218" y="14727"/>
                </a:lnTo>
                <a:lnTo>
                  <a:pt x="15218" y="11782"/>
                </a:lnTo>
                <a:cubicBezTo>
                  <a:pt x="15218" y="10245"/>
                  <a:pt x="14550" y="9321"/>
                  <a:pt x="13430" y="9321"/>
                </a:cubicBezTo>
                <a:moveTo>
                  <a:pt x="6873" y="14727"/>
                </a:moveTo>
                <a:lnTo>
                  <a:pt x="8829" y="14727"/>
                </a:lnTo>
                <a:lnTo>
                  <a:pt x="8829" y="9321"/>
                </a:lnTo>
                <a:lnTo>
                  <a:pt x="6873" y="9321"/>
                </a:lnTo>
                <a:cubicBezTo>
                  <a:pt x="6873" y="9321"/>
                  <a:pt x="6873" y="14727"/>
                  <a:pt x="6873" y="14727"/>
                </a:cubicBezTo>
                <a:close/>
                <a:moveTo>
                  <a:pt x="7851" y="6873"/>
                </a:moveTo>
                <a:cubicBezTo>
                  <a:pt x="7311" y="6873"/>
                  <a:pt x="6873" y="7313"/>
                  <a:pt x="6873" y="7856"/>
                </a:cubicBezTo>
                <a:cubicBezTo>
                  <a:pt x="6873" y="8399"/>
                  <a:pt x="7311" y="8839"/>
                  <a:pt x="7851" y="8839"/>
                </a:cubicBezTo>
                <a:cubicBezTo>
                  <a:pt x="8391" y="8839"/>
                  <a:pt x="8829" y="8399"/>
                  <a:pt x="8829" y="7856"/>
                </a:cubicBezTo>
                <a:cubicBezTo>
                  <a:pt x="8829" y="7313"/>
                  <a:pt x="8391" y="6873"/>
                  <a:pt x="7851" y="6873"/>
                </a:cubicBezTo>
              </a:path>
            </a:pathLst>
          </a:custGeom>
          <a:solidFill>
            <a:schemeClr val="bg1"/>
          </a:solidFill>
          <a:ln w="12700">
            <a:miter lim="400000"/>
          </a:ln>
        </p:spPr>
        <p:txBody>
          <a:bodyPr lIns="38100" tIns="38100" rIns="38100" bIns="38100" anchor="ctr"/>
          <a:lstStyle/>
          <a:p>
            <a:endParaRPr lang="en-GB" dirty="0">
              <a:solidFill>
                <a:prstClr val="black"/>
              </a:solidFill>
              <a:latin typeface="EC Square Sans Pro" panose="020B0506040000020004" pitchFamily="34" charset="0"/>
            </a:endParaRPr>
          </a:p>
        </p:txBody>
      </p:sp>
      <p:sp>
        <p:nvSpPr>
          <p:cNvPr id="8" name="Shape 3788">
            <a:extLst>
              <a:ext uri="{FF2B5EF4-FFF2-40B4-BE49-F238E27FC236}">
                <a16:creationId xmlns:a16="http://schemas.microsoft.com/office/drawing/2014/main" id="{4D3CA252-733F-46EE-A2E8-42C80C03C914}"/>
              </a:ext>
            </a:extLst>
          </p:cNvPr>
          <p:cNvSpPr/>
          <p:nvPr/>
        </p:nvSpPr>
        <p:spPr>
          <a:xfrm>
            <a:off x="1940943" y="5127403"/>
            <a:ext cx="424518" cy="424518"/>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69" y="17122"/>
                  <a:pt x="16604" y="16682"/>
                  <a:pt x="15855" y="16325"/>
                </a:cubicBezTo>
                <a:cubicBezTo>
                  <a:pt x="15868" y="16284"/>
                  <a:pt x="15882" y="16244"/>
                  <a:pt x="15895" y="16203"/>
                </a:cubicBezTo>
                <a:cubicBezTo>
                  <a:pt x="16131" y="15457"/>
                  <a:pt x="16320" y="14656"/>
                  <a:pt x="16454" y="13812"/>
                </a:cubicBezTo>
                <a:cubicBezTo>
                  <a:pt x="16470" y="13704"/>
                  <a:pt x="16484" y="13596"/>
                  <a:pt x="16499" y="13488"/>
                </a:cubicBezTo>
                <a:cubicBezTo>
                  <a:pt x="16544" y="13166"/>
                  <a:pt x="16581" y="12839"/>
                  <a:pt x="16610" y="12507"/>
                </a:cubicBezTo>
                <a:cubicBezTo>
                  <a:pt x="16621" y="12383"/>
                  <a:pt x="16632" y="12260"/>
                  <a:pt x="16641" y="12135"/>
                </a:cubicBezTo>
                <a:cubicBezTo>
                  <a:pt x="16660" y="11859"/>
                  <a:pt x="16664" y="11574"/>
                  <a:pt x="16673" y="11291"/>
                </a:cubicBezTo>
                <a:lnTo>
                  <a:pt x="20598" y="11291"/>
                </a:lnTo>
                <a:cubicBezTo>
                  <a:pt x="20476" y="13747"/>
                  <a:pt x="19450" y="15962"/>
                  <a:pt x="17850" y="17620"/>
                </a:cubicBezTo>
                <a:moveTo>
                  <a:pt x="13714" y="20178"/>
                </a:moveTo>
                <a:cubicBezTo>
                  <a:pt x="13925" y="19958"/>
                  <a:pt x="14127" y="19710"/>
                  <a:pt x="14321" y="19444"/>
                </a:cubicBezTo>
                <a:cubicBezTo>
                  <a:pt x="14339" y="19419"/>
                  <a:pt x="14357" y="19395"/>
                  <a:pt x="14375" y="19369"/>
                </a:cubicBezTo>
                <a:cubicBezTo>
                  <a:pt x="14764" y="18822"/>
                  <a:pt x="15116" y="18192"/>
                  <a:pt x="15420" y="17488"/>
                </a:cubicBezTo>
                <a:cubicBezTo>
                  <a:pt x="15436" y="17450"/>
                  <a:pt x="15451" y="17410"/>
                  <a:pt x="15467" y="17372"/>
                </a:cubicBezTo>
                <a:cubicBezTo>
                  <a:pt x="15485" y="17329"/>
                  <a:pt x="15499" y="17282"/>
                  <a:pt x="15516" y="17239"/>
                </a:cubicBezTo>
                <a:cubicBezTo>
                  <a:pt x="16123" y="17536"/>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4" y="12996"/>
                  <a:pt x="15392" y="14581"/>
                  <a:pt x="14970" y="15948"/>
                </a:cubicBezTo>
                <a:cubicBezTo>
                  <a:pt x="13855" y="15534"/>
                  <a:pt x="12608" y="15291"/>
                  <a:pt x="11291" y="15240"/>
                </a:cubicBezTo>
                <a:cubicBezTo>
                  <a:pt x="11291" y="15240"/>
                  <a:pt x="11291" y="11291"/>
                  <a:pt x="11291" y="11291"/>
                </a:cubicBezTo>
                <a:close/>
                <a:moveTo>
                  <a:pt x="11291" y="6361"/>
                </a:moveTo>
                <a:cubicBezTo>
                  <a:pt x="12608" y="6309"/>
                  <a:pt x="13855" y="6066"/>
                  <a:pt x="14970" y="5652"/>
                </a:cubicBezTo>
                <a:cubicBezTo>
                  <a:pt x="15392" y="7019"/>
                  <a:pt x="15654" y="8605"/>
                  <a:pt x="15697" y="10309"/>
                </a:cubicBezTo>
                <a:lnTo>
                  <a:pt x="11291" y="10309"/>
                </a:lnTo>
                <a:cubicBezTo>
                  <a:pt x="11291" y="10309"/>
                  <a:pt x="11291" y="6361"/>
                  <a:pt x="11291" y="6361"/>
                </a:cubicBezTo>
                <a:close/>
                <a:moveTo>
                  <a:pt x="11291" y="1032"/>
                </a:moveTo>
                <a:cubicBezTo>
                  <a:pt x="12654" y="1302"/>
                  <a:pt x="13850" y="2691"/>
                  <a:pt x="14652" y="4731"/>
                </a:cubicBezTo>
                <a:cubicBezTo>
                  <a:pt x="13638" y="5107"/>
                  <a:pt x="12498" y="5329"/>
                  <a:pt x="11291" y="5379"/>
                </a:cubicBezTo>
                <a:cubicBezTo>
                  <a:pt x="11291" y="5379"/>
                  <a:pt x="11291" y="1032"/>
                  <a:pt x="11291" y="1032"/>
                </a:cubicBezTo>
                <a:close/>
                <a:moveTo>
                  <a:pt x="17142" y="3315"/>
                </a:moveTo>
                <a:cubicBezTo>
                  <a:pt x="16665" y="3711"/>
                  <a:pt x="16123" y="4065"/>
                  <a:pt x="15516"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1"/>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5"/>
                  <a:pt x="16499" y="8112"/>
                </a:cubicBezTo>
                <a:cubicBezTo>
                  <a:pt x="16484" y="8005"/>
                  <a:pt x="16470" y="7896"/>
                  <a:pt x="16454" y="7789"/>
                </a:cubicBezTo>
                <a:cubicBezTo>
                  <a:pt x="16320" y="6944"/>
                  <a:pt x="16131" y="6144"/>
                  <a:pt x="15895" y="5397"/>
                </a:cubicBezTo>
                <a:cubicBezTo>
                  <a:pt x="15882" y="5357"/>
                  <a:pt x="15868" y="5317"/>
                  <a:pt x="15855" y="5276"/>
                </a:cubicBezTo>
                <a:cubicBezTo>
                  <a:pt x="16604" y="4918"/>
                  <a:pt x="17269" y="4478"/>
                  <a:pt x="17850" y="3981"/>
                </a:cubicBezTo>
                <a:cubicBezTo>
                  <a:pt x="19450" y="5638"/>
                  <a:pt x="20476" y="7853"/>
                  <a:pt x="20598" y="10309"/>
                </a:cubicBezTo>
                <a:moveTo>
                  <a:pt x="10309" y="5379"/>
                </a:moveTo>
                <a:cubicBezTo>
                  <a:pt x="9101" y="5329"/>
                  <a:pt x="7961" y="5107"/>
                  <a:pt x="6947" y="4731"/>
                </a:cubicBezTo>
                <a:cubicBezTo>
                  <a:pt x="7749" y="2691"/>
                  <a:pt x="8945" y="1302"/>
                  <a:pt x="10309" y="1032"/>
                </a:cubicBezTo>
                <a:cubicBezTo>
                  <a:pt x="10309" y="1032"/>
                  <a:pt x="10309" y="5379"/>
                  <a:pt x="10309" y="5379"/>
                </a:cubicBezTo>
                <a:close/>
                <a:moveTo>
                  <a:pt x="10309" y="10309"/>
                </a:moveTo>
                <a:lnTo>
                  <a:pt x="5902" y="10309"/>
                </a:lnTo>
                <a:cubicBezTo>
                  <a:pt x="5945" y="8605"/>
                  <a:pt x="6207" y="7019"/>
                  <a:pt x="6629" y="5652"/>
                </a:cubicBezTo>
                <a:cubicBezTo>
                  <a:pt x="7744" y="6066"/>
                  <a:pt x="8991" y="6309"/>
                  <a:pt x="10309" y="6361"/>
                </a:cubicBezTo>
                <a:cubicBezTo>
                  <a:pt x="10309" y="6361"/>
                  <a:pt x="10309" y="10309"/>
                  <a:pt x="10309" y="10309"/>
                </a:cubicBezTo>
                <a:close/>
                <a:moveTo>
                  <a:pt x="10309" y="15240"/>
                </a:moveTo>
                <a:cubicBezTo>
                  <a:pt x="8991" y="15291"/>
                  <a:pt x="7744" y="15534"/>
                  <a:pt x="6629" y="15948"/>
                </a:cubicBezTo>
                <a:cubicBezTo>
                  <a:pt x="6207" y="14581"/>
                  <a:pt x="5945" y="12996"/>
                  <a:pt x="5902"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6"/>
                  <a:pt x="6083" y="17239"/>
                </a:cubicBezTo>
                <a:cubicBezTo>
                  <a:pt x="6100" y="17282"/>
                  <a:pt x="6114" y="17329"/>
                  <a:pt x="6132" y="17372"/>
                </a:cubicBezTo>
                <a:cubicBezTo>
                  <a:pt x="6148" y="17410"/>
                  <a:pt x="6163" y="17450"/>
                  <a:pt x="6180" y="17488"/>
                </a:cubicBezTo>
                <a:cubicBezTo>
                  <a:pt x="6483" y="18192"/>
                  <a:pt x="6834" y="18822"/>
                  <a:pt x="7224" y="19369"/>
                </a:cubicBezTo>
                <a:cubicBezTo>
                  <a:pt x="7242" y="19395"/>
                  <a:pt x="7260" y="19419"/>
                  <a:pt x="7278" y="19444"/>
                </a:cubicBezTo>
                <a:cubicBezTo>
                  <a:pt x="7472" y="19710"/>
                  <a:pt x="7674" y="19958"/>
                  <a:pt x="7886" y="20178"/>
                </a:cubicBezTo>
                <a:cubicBezTo>
                  <a:pt x="6610" y="19782"/>
                  <a:pt x="5451" y="19129"/>
                  <a:pt x="4458" y="18285"/>
                </a:cubicBezTo>
                <a:moveTo>
                  <a:pt x="1002" y="11291"/>
                </a:moveTo>
                <a:lnTo>
                  <a:pt x="4927" y="11291"/>
                </a:lnTo>
                <a:cubicBezTo>
                  <a:pt x="4935" y="11574"/>
                  <a:pt x="4940" y="11859"/>
                  <a:pt x="4958" y="12135"/>
                </a:cubicBezTo>
                <a:cubicBezTo>
                  <a:pt x="4967" y="12260"/>
                  <a:pt x="4978" y="12383"/>
                  <a:pt x="4989" y="12507"/>
                </a:cubicBezTo>
                <a:cubicBezTo>
                  <a:pt x="5018" y="12839"/>
                  <a:pt x="5055" y="13166"/>
                  <a:pt x="5100" y="13488"/>
                </a:cubicBezTo>
                <a:cubicBezTo>
                  <a:pt x="5115" y="13596"/>
                  <a:pt x="5129" y="13704"/>
                  <a:pt x="5145" y="13812"/>
                </a:cubicBezTo>
                <a:cubicBezTo>
                  <a:pt x="5279" y="14656"/>
                  <a:pt x="5468" y="15457"/>
                  <a:pt x="5704" y="16203"/>
                </a:cubicBezTo>
                <a:cubicBezTo>
                  <a:pt x="5717" y="16244"/>
                  <a:pt x="5731" y="16284"/>
                  <a:pt x="5744" y="16325"/>
                </a:cubicBezTo>
                <a:cubicBezTo>
                  <a:pt x="4995" y="16682"/>
                  <a:pt x="4329" y="17122"/>
                  <a:pt x="3749" y="17620"/>
                </a:cubicBezTo>
                <a:cubicBezTo>
                  <a:pt x="2150" y="15962"/>
                  <a:pt x="1123" y="13747"/>
                  <a:pt x="1002" y="11291"/>
                </a:cubicBezTo>
                <a:moveTo>
                  <a:pt x="3749" y="3981"/>
                </a:moveTo>
                <a:cubicBezTo>
                  <a:pt x="4329" y="4478"/>
                  <a:pt x="4995" y="4918"/>
                  <a:pt x="5744" y="5276"/>
                </a:cubicBezTo>
                <a:cubicBezTo>
                  <a:pt x="5731" y="5317"/>
                  <a:pt x="5717" y="5357"/>
                  <a:pt x="5704" y="5397"/>
                </a:cubicBezTo>
                <a:cubicBezTo>
                  <a:pt x="5468" y="6144"/>
                  <a:pt x="5279" y="6944"/>
                  <a:pt x="5145" y="7789"/>
                </a:cubicBezTo>
                <a:cubicBezTo>
                  <a:pt x="5129" y="7896"/>
                  <a:pt x="5115" y="8005"/>
                  <a:pt x="5100" y="8112"/>
                </a:cubicBezTo>
                <a:cubicBezTo>
                  <a:pt x="5055" y="8435"/>
                  <a:pt x="5018" y="8761"/>
                  <a:pt x="4989" y="9093"/>
                </a:cubicBezTo>
                <a:cubicBezTo>
                  <a:pt x="4978"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1"/>
                  <a:pt x="7278" y="2156"/>
                </a:cubicBezTo>
                <a:cubicBezTo>
                  <a:pt x="7260" y="2181"/>
                  <a:pt x="7242" y="2206"/>
                  <a:pt x="7224" y="2231"/>
                </a:cubicBezTo>
                <a:cubicBezTo>
                  <a:pt x="6834" y="2778"/>
                  <a:pt x="6483" y="3408"/>
                  <a:pt x="6180" y="4112"/>
                </a:cubicBezTo>
                <a:cubicBezTo>
                  <a:pt x="6163" y="4151"/>
                  <a:pt x="6148" y="4190"/>
                  <a:pt x="6132" y="4229"/>
                </a:cubicBezTo>
                <a:cubicBezTo>
                  <a:pt x="6114"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bg1"/>
          </a:solidFill>
          <a:ln w="12700">
            <a:miter lim="400000"/>
          </a:ln>
        </p:spPr>
        <p:txBody>
          <a:bodyPr lIns="38100" tIns="38100" rIns="38100" bIns="38100" anchor="ctr"/>
          <a:lstStyle/>
          <a:p>
            <a:endParaRPr lang="en-GB" dirty="0">
              <a:solidFill>
                <a:prstClr val="black"/>
              </a:solidFill>
              <a:latin typeface="EC Square Sans Pro" panose="020B0506040000020004" pitchFamily="34" charset="0"/>
            </a:endParaRPr>
          </a:p>
        </p:txBody>
      </p:sp>
      <p:sp>
        <p:nvSpPr>
          <p:cNvPr id="9" name="Rectangle 8">
            <a:extLst>
              <a:ext uri="{FF2B5EF4-FFF2-40B4-BE49-F238E27FC236}">
                <a16:creationId xmlns:a16="http://schemas.microsoft.com/office/drawing/2014/main" id="{FD882BC2-BE30-4D43-B029-CEBF8AD51F82}"/>
              </a:ext>
            </a:extLst>
          </p:cNvPr>
          <p:cNvSpPr/>
          <p:nvPr/>
        </p:nvSpPr>
        <p:spPr>
          <a:xfrm>
            <a:off x="2572185" y="5088374"/>
            <a:ext cx="2277290" cy="400110"/>
          </a:xfrm>
          <a:prstGeom prst="rect">
            <a:avLst/>
          </a:prstGeom>
        </p:spPr>
        <p:txBody>
          <a:bodyPr wrap="none">
            <a:spAutoFit/>
          </a:bodyPr>
          <a:lstStyle/>
          <a:p>
            <a:r>
              <a:rPr lang="en-GB" sz="2000" dirty="0">
                <a:solidFill>
                  <a:schemeClr val="bg1"/>
                </a:solidFill>
                <a:hlinkClick r:id="rId8">
                  <a:extLst>
                    <a:ext uri="{A12FA001-AC4F-418D-AE19-62706E023703}">
                      <ahyp:hlinkClr xmlns:ahyp="http://schemas.microsoft.com/office/drawing/2018/hyperlinkcolor" val="tx"/>
                    </a:ext>
                  </a:extLst>
                </a:hlinkClick>
              </a:rPr>
              <a:t>joinup.ec.europa</a:t>
            </a:r>
            <a:r>
              <a:rPr lang="en-GB" sz="2000">
                <a:solidFill>
                  <a:schemeClr val="bg1"/>
                </a:solidFill>
                <a:hlinkClick r:id="rId8">
                  <a:extLst>
                    <a:ext uri="{A12FA001-AC4F-418D-AE19-62706E023703}">
                      <ahyp:hlinkClr xmlns:ahyp="http://schemas.microsoft.com/office/drawing/2018/hyperlinkcolor" val="tx"/>
                    </a:ext>
                  </a:extLst>
                </a:hlinkClick>
              </a:rPr>
              <a:t>.eu</a:t>
            </a:r>
            <a:endParaRPr lang="en-GB" sz="1600" dirty="0">
              <a:solidFill>
                <a:schemeClr val="bg1"/>
              </a:solidFill>
            </a:endParaRPr>
          </a:p>
        </p:txBody>
      </p:sp>
      <p:sp>
        <p:nvSpPr>
          <p:cNvPr id="10" name="Rectangle 9">
            <a:extLst>
              <a:ext uri="{FF2B5EF4-FFF2-40B4-BE49-F238E27FC236}">
                <a16:creationId xmlns:a16="http://schemas.microsoft.com/office/drawing/2014/main" id="{25722C85-3976-497B-965D-7723C09FFE2B}"/>
              </a:ext>
            </a:extLst>
          </p:cNvPr>
          <p:cNvSpPr/>
          <p:nvPr/>
        </p:nvSpPr>
        <p:spPr>
          <a:xfrm>
            <a:off x="2572185" y="3671796"/>
            <a:ext cx="2852305" cy="400110"/>
          </a:xfrm>
          <a:prstGeom prst="rect">
            <a:avLst/>
          </a:prstGeom>
        </p:spPr>
        <p:txBody>
          <a:bodyPr wrap="square">
            <a:spAutoFit/>
          </a:bodyPr>
          <a:lstStyle/>
          <a:p>
            <a:r>
              <a:rPr lang="en-GB" sz="2000">
                <a:solidFill>
                  <a:schemeClr val="bg1"/>
                </a:solidFill>
                <a:hlinkClick r:id="rId9">
                  <a:extLst>
                    <a:ext uri="{A12FA001-AC4F-418D-AE19-62706E023703}">
                      <ahyp:hlinkClr xmlns:ahyp="http://schemas.microsoft.com/office/drawing/2018/hyperlinkcolor" val="tx"/>
                    </a:ext>
                  </a:extLst>
                </a:hlinkClick>
              </a:rPr>
              <a:t>@Joinup_eu</a:t>
            </a:r>
            <a:endParaRPr lang="en-GB" sz="1600" dirty="0">
              <a:solidFill>
                <a:schemeClr val="bg1"/>
              </a:solidFill>
            </a:endParaRPr>
          </a:p>
        </p:txBody>
      </p:sp>
      <p:sp>
        <p:nvSpPr>
          <p:cNvPr id="11" name="Rectangle 10">
            <a:extLst>
              <a:ext uri="{FF2B5EF4-FFF2-40B4-BE49-F238E27FC236}">
                <a16:creationId xmlns:a16="http://schemas.microsoft.com/office/drawing/2014/main" id="{B12BC429-B004-406F-9180-D76CBF27E6C4}"/>
              </a:ext>
            </a:extLst>
          </p:cNvPr>
          <p:cNvSpPr/>
          <p:nvPr/>
        </p:nvSpPr>
        <p:spPr>
          <a:xfrm>
            <a:off x="2572185" y="4143989"/>
            <a:ext cx="3138055" cy="400110"/>
          </a:xfrm>
          <a:prstGeom prst="rect">
            <a:avLst/>
          </a:prstGeom>
        </p:spPr>
        <p:txBody>
          <a:bodyPr wrap="square">
            <a:spAutoFit/>
          </a:bodyPr>
          <a:lstStyle/>
          <a:p>
            <a:r>
              <a:rPr lang="en-GB" sz="2000">
                <a:solidFill>
                  <a:schemeClr val="bg1"/>
                </a:solidFill>
                <a:hlinkClick r:id="rId10">
                  <a:extLst>
                    <a:ext uri="{A12FA001-AC4F-418D-AE19-62706E023703}">
                      <ahyp:hlinkClr xmlns:ahyp="http://schemas.microsoft.com/office/drawing/2018/hyperlinkcolor" val="tx"/>
                    </a:ext>
                  </a:extLst>
                </a:hlinkClick>
              </a:rPr>
              <a:t>Joinup Community</a:t>
            </a:r>
            <a:endParaRPr lang="en-GB" sz="1600" dirty="0">
              <a:solidFill>
                <a:schemeClr val="bg1"/>
              </a:solidFill>
              <a:hlinkClick r:id="rId11">
                <a:extLst>
                  <a:ext uri="{A12FA001-AC4F-418D-AE19-62706E023703}">
                    <ahyp:hlinkClr xmlns:ahyp="http://schemas.microsoft.com/office/drawing/2018/hyperlinkcolor" val="tx"/>
                  </a:ext>
                </a:extLst>
              </a:hlinkClick>
            </a:endParaRPr>
          </a:p>
        </p:txBody>
      </p:sp>
      <p:sp>
        <p:nvSpPr>
          <p:cNvPr id="12" name="Rectangle 11">
            <a:extLst>
              <a:ext uri="{FF2B5EF4-FFF2-40B4-BE49-F238E27FC236}">
                <a16:creationId xmlns:a16="http://schemas.microsoft.com/office/drawing/2014/main" id="{C5522BEE-4968-4389-8647-4AD34E4A1CB7}"/>
              </a:ext>
            </a:extLst>
          </p:cNvPr>
          <p:cNvSpPr/>
          <p:nvPr/>
        </p:nvSpPr>
        <p:spPr>
          <a:xfrm>
            <a:off x="2572185" y="4616182"/>
            <a:ext cx="1330558" cy="400110"/>
          </a:xfrm>
          <a:prstGeom prst="rect">
            <a:avLst/>
          </a:prstGeom>
        </p:spPr>
        <p:txBody>
          <a:bodyPr wrap="square">
            <a:spAutoFit/>
          </a:bodyPr>
          <a:lstStyle/>
          <a:p>
            <a:r>
              <a:rPr lang="en-GB" sz="2000">
                <a:solidFill>
                  <a:schemeClr val="bg1"/>
                </a:solidFill>
                <a:hlinkClick r:id="rId12">
                  <a:extLst>
                    <a:ext uri="{A12FA001-AC4F-418D-AE19-62706E023703}">
                      <ahyp:hlinkClr xmlns:ahyp="http://schemas.microsoft.com/office/drawing/2018/hyperlinkcolor" val="tx"/>
                    </a:ext>
                  </a:extLst>
                </a:hlinkClick>
              </a:rPr>
              <a:t>Contact us</a:t>
            </a:r>
            <a:endParaRPr lang="en-GB" sz="1600" dirty="0">
              <a:solidFill>
                <a:schemeClr val="bg1"/>
              </a:solidFill>
              <a:hlinkClick r:id="rId11">
                <a:extLst>
                  <a:ext uri="{A12FA001-AC4F-418D-AE19-62706E023703}">
                    <ahyp:hlinkClr xmlns:ahyp="http://schemas.microsoft.com/office/drawing/2018/hyperlinkcolor" val="tx"/>
                  </a:ext>
                </a:extLst>
              </a:hlinkClick>
            </a:endParaRPr>
          </a:p>
        </p:txBody>
      </p:sp>
      <p:pic>
        <p:nvPicPr>
          <p:cNvPr id="13" name="Picture 12">
            <a:extLst>
              <a:ext uri="{FF2B5EF4-FFF2-40B4-BE49-F238E27FC236}">
                <a16:creationId xmlns:a16="http://schemas.microsoft.com/office/drawing/2014/main" id="{70D44E8D-690E-45A7-9CB2-7818D8E60FD6}"/>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940943" y="2405426"/>
            <a:ext cx="2635701" cy="1023574"/>
          </a:xfrm>
          <a:prstGeom prst="rect">
            <a:avLst/>
          </a:prstGeom>
        </p:spPr>
      </p:pic>
    </p:spTree>
    <p:extLst>
      <p:ext uri="{BB962C8B-B14F-4D97-AF65-F5344CB8AC3E}">
        <p14:creationId xmlns:p14="http://schemas.microsoft.com/office/powerpoint/2010/main" val="866741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A1A17FF-D33E-401F-BFF8-6EA3D14F2BE0}"/>
              </a:ext>
            </a:extLst>
          </p:cNvPr>
          <p:cNvGraphicFramePr>
            <a:graphicFrameLocks noChangeAspect="1"/>
          </p:cNvGraphicFramePr>
          <p:nvPr>
            <p:custDataLst>
              <p:tags r:id="rId1"/>
            </p:custDataLst>
            <p:extLst>
              <p:ext uri="{D42A27DB-BD31-4B8C-83A1-F6EECF244321}">
                <p14:modId xmlns:p14="http://schemas.microsoft.com/office/powerpoint/2010/main" val="395301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2" name="Object 1" hidden="1">
                        <a:extLst>
                          <a:ext uri="{FF2B5EF4-FFF2-40B4-BE49-F238E27FC236}">
                            <a16:creationId xmlns:a16="http://schemas.microsoft.com/office/drawing/2014/main" id="{7A1A17FF-D33E-401F-BFF8-6EA3D14F2B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btitle 2"/>
          <p:cNvSpPr>
            <a:spLocks noGrp="1"/>
          </p:cNvSpPr>
          <p:nvPr>
            <p:ph type="subTitle" idx="4294967295"/>
          </p:nvPr>
        </p:nvSpPr>
        <p:spPr>
          <a:xfrm>
            <a:off x="2869373" y="2679700"/>
            <a:ext cx="6765569" cy="1669568"/>
          </a:xfrm>
          <a:prstGeom prst="rect">
            <a:avLst/>
          </a:prstGeom>
        </p:spPr>
        <p:txBody>
          <a:bodyPr wrap="square" anchor="b" anchorCtr="0"/>
          <a:lstStyle/>
          <a:p>
            <a:r>
              <a:rPr lang="en-GB" sz="1000" b="1"/>
              <a:t>© European Union 2020</a:t>
            </a:r>
          </a:p>
          <a:p>
            <a:r>
              <a:rPr lang="en-GB" sz="1000"/>
              <a:t>Unless otherwise noted the reuse of this presentation is authorised under the </a:t>
            </a:r>
            <a:r>
              <a:rPr lang="en-GB" sz="1000">
                <a:hlinkClick r:id="rId6"/>
              </a:rPr>
              <a:t>CC BY 4.0 </a:t>
            </a:r>
            <a:r>
              <a:rPr lang="en-GB" sz="1000"/>
              <a:t>license. For any use or reproduction of elements that are not owned by the EU, permission may need to be sought directly from the respective right holders.</a:t>
            </a:r>
            <a:endParaRPr lang="en-GB" sz="1000" dirty="0"/>
          </a:p>
        </p:txBody>
      </p:sp>
      <p:pic>
        <p:nvPicPr>
          <p:cNvPr id="5" name="Picture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82356" y="3193467"/>
            <a:ext cx="1023496" cy="358097"/>
          </a:xfrm>
          <a:prstGeom prst="rect">
            <a:avLst/>
          </a:prstGeom>
        </p:spPr>
      </p:pic>
      <p:sp>
        <p:nvSpPr>
          <p:cNvPr id="4" name="Subtitle 2"/>
          <p:cNvSpPr txBox="1">
            <a:spLocks/>
          </p:cNvSpPr>
          <p:nvPr/>
        </p:nvSpPr>
        <p:spPr>
          <a:xfrm>
            <a:off x="2869373" y="2011696"/>
            <a:ext cx="6765569" cy="668004"/>
          </a:xfrm>
          <a:prstGeom prst="rect">
            <a:avLst/>
          </a:prstGeom>
        </p:spPr>
        <p:txBody>
          <a:bodyPr vert="horz" wrap="square" lIns="91440" tIns="45720" rIns="91440" bIns="45720" rtlCol="0" anchor="t" anchorCtr="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000" dirty="0"/>
              <a:t>The views expressed in this presentation are purely those of the author and may not, in any circumstances, be interpreted as stating an official position of the European Commission. The European Commission does not guarantee the accuracy of the information included in this document, nor does it accept any responsibility for any use thereof.</a:t>
            </a:r>
            <a:endParaRPr lang="en-GB" sz="1000" dirty="0">
              <a:solidFill>
                <a:schemeClr val="accent6"/>
              </a:solidFill>
            </a:endParaRPr>
          </a:p>
        </p:txBody>
      </p:sp>
    </p:spTree>
    <p:extLst>
      <p:ext uri="{BB962C8B-B14F-4D97-AF65-F5344CB8AC3E}">
        <p14:creationId xmlns:p14="http://schemas.microsoft.com/office/powerpoint/2010/main" val="42736193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D7C1911-BC66-48AD-92D2-0744DB05CDC8}"/>
              </a:ext>
            </a:extLst>
          </p:cNvPr>
          <p:cNvGraphicFramePr>
            <a:graphicFrameLocks noChangeAspect="1"/>
          </p:cNvGraphicFramePr>
          <p:nvPr>
            <p:custDataLst>
              <p:tags r:id="rId1"/>
            </p:custDataLst>
            <p:extLst>
              <p:ext uri="{D42A27DB-BD31-4B8C-83A1-F6EECF244321}">
                <p14:modId xmlns:p14="http://schemas.microsoft.com/office/powerpoint/2010/main" val="2157977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6D7C1911-BC66-48AD-92D2-0744DB05CDC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ous-titre 2"/>
          <p:cNvSpPr>
            <a:spLocks noGrp="1"/>
          </p:cNvSpPr>
          <p:nvPr>
            <p:ph type="subTitle" idx="1"/>
          </p:nvPr>
        </p:nvSpPr>
        <p:spPr>
          <a:xfrm>
            <a:off x="838201" y="1879600"/>
            <a:ext cx="7213599" cy="3901372"/>
          </a:xfrm>
        </p:spPr>
        <p:txBody>
          <a:bodyPr/>
          <a:lstStyle/>
          <a:p>
            <a:pPr marL="285750" indent="-285750">
              <a:buFont typeface="Arial" panose="020B0604020202020204" pitchFamily="34" charset="0"/>
              <a:buChar char="•"/>
            </a:pPr>
            <a:r>
              <a:rPr lang="en-GB" sz="2000" b="1" dirty="0"/>
              <a:t>Transparency</a:t>
            </a:r>
            <a:r>
              <a:rPr lang="en-GB" sz="2000" dirty="0"/>
              <a:t>: open source software is available along with its source code.</a:t>
            </a:r>
          </a:p>
          <a:p>
            <a:pPr marL="285750" indent="-285750">
              <a:buFont typeface="Arial" panose="020B0604020202020204" pitchFamily="34" charset="0"/>
              <a:buChar char="•"/>
            </a:pPr>
            <a:r>
              <a:rPr lang="en-GB" sz="2000" b="1" dirty="0"/>
              <a:t>Interoperability</a:t>
            </a:r>
            <a:r>
              <a:rPr lang="en-GB" sz="2000" dirty="0"/>
              <a:t>: whether implemented in open source software, open standards ensure interoperability, the ability of systems from different vendors to function fully with each other without technical or legal obstacles. </a:t>
            </a:r>
          </a:p>
          <a:p>
            <a:pPr marL="285750" lvl="0" indent="-285750" eaLnBrk="0" hangingPunct="0">
              <a:buFont typeface="Arial" panose="020B0604020202020204" pitchFamily="34" charset="0"/>
              <a:buChar char="•"/>
            </a:pPr>
            <a:r>
              <a:rPr lang="en-GB" sz="2000" b="1" dirty="0"/>
              <a:t>Independence</a:t>
            </a:r>
            <a:r>
              <a:rPr lang="en-GB" sz="2000" dirty="0"/>
              <a:t>: transparency and interoperability allow current and future vendors to work with, adapt and maintain the software, eliminating the dependence of purchasers or third party support and service providers on the vendors of the original version of the software.</a:t>
            </a:r>
          </a:p>
          <a:p>
            <a:pPr marL="285750" lvl="0" indent="-285750" eaLnBrk="0" hangingPunct="0">
              <a:buFont typeface="Arial" panose="020B0604020202020204" pitchFamily="34" charset="0"/>
              <a:buChar char="•"/>
            </a:pPr>
            <a:r>
              <a:rPr lang="en-GB" sz="2000" b="1" dirty="0"/>
              <a:t>Flexibility</a:t>
            </a:r>
            <a:r>
              <a:rPr lang="en-GB" sz="2000" dirty="0"/>
              <a:t>: open source software allows systems to be adapted and extended as user needs evolve. It does this without requiring that the user go back to the original vendor - new suppliers can be selected on a competitive basis.</a:t>
            </a:r>
          </a:p>
          <a:p>
            <a:endParaRPr lang="en-GB" dirty="0"/>
          </a:p>
        </p:txBody>
      </p:sp>
      <p:sp>
        <p:nvSpPr>
          <p:cNvPr id="4" name="Sous-titre 2"/>
          <p:cNvSpPr txBox="1">
            <a:spLocks/>
          </p:cNvSpPr>
          <p:nvPr/>
        </p:nvSpPr>
        <p:spPr>
          <a:xfrm>
            <a:off x="9347200" y="2852898"/>
            <a:ext cx="2571898" cy="1954776"/>
          </a:xfrm>
          <a:prstGeom prst="rect">
            <a:avLst/>
          </a:prstGeom>
          <a:ln>
            <a:solidFill>
              <a:schemeClr val="accent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lumMod val="50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2000" b="1" dirty="0"/>
              <a:t>Sustainability</a:t>
            </a:r>
          </a:p>
          <a:p>
            <a:r>
              <a:rPr lang="en-GB" sz="2000" dirty="0"/>
              <a:t>lower costs over the longer term</a:t>
            </a:r>
          </a:p>
          <a:p>
            <a:r>
              <a:rPr lang="en-GB" sz="2000" dirty="0"/>
              <a:t>reduces the users' reliance on the original vendors (or “locking”)</a:t>
            </a:r>
          </a:p>
          <a:p>
            <a:endParaRPr lang="en-GB" sz="1800" dirty="0"/>
          </a:p>
        </p:txBody>
      </p:sp>
      <p:sp>
        <p:nvSpPr>
          <p:cNvPr id="5" name="Flèche droite 4"/>
          <p:cNvSpPr>
            <a:spLocks/>
          </p:cNvSpPr>
          <p:nvPr/>
        </p:nvSpPr>
        <p:spPr>
          <a:xfrm>
            <a:off x="8318500" y="2349244"/>
            <a:ext cx="762000" cy="2962084"/>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ZoneTexte 5"/>
          <p:cNvSpPr txBox="1"/>
          <p:nvPr/>
        </p:nvSpPr>
        <p:spPr>
          <a:xfrm>
            <a:off x="838201" y="1161501"/>
            <a:ext cx="3060700" cy="584775"/>
          </a:xfrm>
          <a:prstGeom prst="rect">
            <a:avLst/>
          </a:prstGeom>
          <a:noFill/>
        </p:spPr>
        <p:txBody>
          <a:bodyPr wrap="square" rtlCol="0">
            <a:spAutoFit/>
          </a:bodyPr>
          <a:lstStyle/>
          <a:p>
            <a:r>
              <a:rPr lang="en-GB" sz="3200"/>
              <a:t>Why?</a:t>
            </a:r>
            <a:endParaRPr lang="en-GB" sz="3200" dirty="0"/>
          </a:p>
        </p:txBody>
      </p:sp>
      <p:sp>
        <p:nvSpPr>
          <p:cNvPr id="10" name="Rectangle 9">
            <a:extLst>
              <a:ext uri="{FF2B5EF4-FFF2-40B4-BE49-F238E27FC236}">
                <a16:creationId xmlns:a16="http://schemas.microsoft.com/office/drawing/2014/main" id="{62E84F90-A2B2-4661-B964-0A6D30A3EC50}"/>
              </a:ext>
            </a:extLst>
          </p:cNvPr>
          <p:cNvSpPr/>
          <p:nvPr/>
        </p:nvSpPr>
        <p:spPr>
          <a:xfrm>
            <a:off x="975366" y="-6866"/>
            <a:ext cx="9895833" cy="1015663"/>
          </a:xfrm>
          <a:prstGeom prst="rect">
            <a:avLst/>
          </a:prstGeom>
        </p:spPr>
        <p:txBody>
          <a:bodyPr wrap="square">
            <a:spAutoFit/>
          </a:bodyPr>
          <a:lstStyle/>
          <a:p>
            <a:r>
              <a:rPr lang="en-GB" sz="6000" dirty="0">
                <a:solidFill>
                  <a:schemeClr val="bg1"/>
                </a:solidFill>
                <a:latin typeface="+mj-lt"/>
                <a:ea typeface="+mj-ea"/>
                <a:cs typeface="+mj-cs"/>
              </a:rPr>
              <a:t>OSS fits </a:t>
            </a:r>
            <a:r>
              <a:rPr lang="en-GB" sz="6000">
                <a:solidFill>
                  <a:schemeClr val="bg1"/>
                </a:solidFill>
                <a:latin typeface="+mj-lt"/>
                <a:ea typeface="+mj-ea"/>
                <a:cs typeface="+mj-cs"/>
              </a:rPr>
              <a:t>public procurement</a:t>
            </a:r>
            <a:endParaRPr lang="en-GB" sz="6000" dirty="0">
              <a:solidFill>
                <a:schemeClr val="bg1"/>
              </a:solidFill>
              <a:latin typeface="+mj-lt"/>
              <a:ea typeface="+mj-ea"/>
              <a:cs typeface="+mj-cs"/>
            </a:endParaRPr>
          </a:p>
        </p:txBody>
      </p:sp>
    </p:spTree>
    <p:extLst>
      <p:ext uri="{BB962C8B-B14F-4D97-AF65-F5344CB8AC3E}">
        <p14:creationId xmlns:p14="http://schemas.microsoft.com/office/powerpoint/2010/main" val="26369556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79228F-5049-41A0-9EB2-7EEA066581D9}"/>
              </a:ext>
            </a:extLst>
          </p:cNvPr>
          <p:cNvGraphicFramePr>
            <a:graphicFrameLocks noChangeAspect="1"/>
          </p:cNvGraphicFramePr>
          <p:nvPr>
            <p:custDataLst>
              <p:tags r:id="rId1"/>
            </p:custDataLst>
            <p:extLst>
              <p:ext uri="{D42A27DB-BD31-4B8C-83A1-F6EECF244321}">
                <p14:modId xmlns:p14="http://schemas.microsoft.com/office/powerpoint/2010/main" val="1643709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ct 9" hidden="1">
                        <a:extLst>
                          <a:ext uri="{FF2B5EF4-FFF2-40B4-BE49-F238E27FC236}">
                            <a16:creationId xmlns:a16="http://schemas.microsoft.com/office/drawing/2014/main" id="{2D79228F-5049-41A0-9EB2-7EEA066581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ous-titre 2"/>
          <p:cNvSpPr>
            <a:spLocks noGrp="1"/>
          </p:cNvSpPr>
          <p:nvPr>
            <p:ph type="subTitle" idx="1"/>
          </p:nvPr>
        </p:nvSpPr>
        <p:spPr>
          <a:xfrm>
            <a:off x="838201" y="1710813"/>
            <a:ext cx="5257799" cy="4451159"/>
          </a:xfrm>
        </p:spPr>
        <p:txBody>
          <a:bodyPr/>
          <a:lstStyle/>
          <a:p>
            <a:r>
              <a:rPr lang="en-GB" sz="2000" dirty="0"/>
              <a:t>Procurement  </a:t>
            </a:r>
            <a:r>
              <a:rPr lang="en-GB" sz="2000" i="1" dirty="0"/>
              <a:t>(Recommendation 3):</a:t>
            </a:r>
            <a:endParaRPr lang="en-GB" sz="2000" dirty="0"/>
          </a:p>
          <a:p>
            <a:r>
              <a:rPr lang="en-GB" sz="2000" dirty="0"/>
              <a:t>Ensure a level playing field for open source software and demonstrate active and fair consideration of using open source software, taking into account the total cost of ownership of the solution.</a:t>
            </a:r>
          </a:p>
          <a:p>
            <a:endParaRPr lang="en-GB" sz="2000" dirty="0"/>
          </a:p>
          <a:p>
            <a:r>
              <a:rPr lang="en-GB" sz="2000" dirty="0"/>
              <a:t>Sharing and Reuse </a:t>
            </a:r>
            <a:r>
              <a:rPr lang="en-GB" sz="2000" i="1" dirty="0"/>
              <a:t>(Recommendation 6):</a:t>
            </a:r>
            <a:endParaRPr lang="en-GB" sz="2000" dirty="0"/>
          </a:p>
          <a:p>
            <a:r>
              <a:rPr lang="en-GB" sz="2000" dirty="0"/>
              <a:t>Reuse and share solutions, and cooperate in the development of joint solutions when implementing European public services.</a:t>
            </a:r>
          </a:p>
          <a:p>
            <a:endParaRPr lang="en-GB" sz="2400" dirty="0"/>
          </a:p>
          <a:p>
            <a:endParaRPr lang="en-GB" sz="2400" dirty="0"/>
          </a:p>
        </p:txBody>
      </p:sp>
      <p:sp>
        <p:nvSpPr>
          <p:cNvPr id="4" name="Sous-titre 2"/>
          <p:cNvSpPr txBox="1">
            <a:spLocks/>
          </p:cNvSpPr>
          <p:nvPr/>
        </p:nvSpPr>
        <p:spPr>
          <a:xfrm>
            <a:off x="7207251" y="3417290"/>
            <a:ext cx="4699000" cy="2425700"/>
          </a:xfrm>
          <a:prstGeom prst="rect">
            <a:avLst/>
          </a:prstGeom>
          <a:ln>
            <a:solidFill>
              <a:schemeClr val="accent1"/>
            </a:solid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lumMod val="50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b="1"/>
              <a:t>COMMISSION DECISION of 8.12.2021 on the open source licensing and reuse of Commission software</a:t>
            </a:r>
          </a:p>
          <a:p>
            <a:r>
              <a:rPr lang="en-GB"/>
              <a:t>C(2021) 8759</a:t>
            </a:r>
            <a:endParaRPr lang="en-GB" b="1" i="1"/>
          </a:p>
          <a:p>
            <a:r>
              <a:rPr lang="en-GB"/>
              <a:t>The Commission services </a:t>
            </a:r>
            <a:r>
              <a:rPr lang="en-GB" b="1" i="1" u="sng"/>
              <a:t>may</a:t>
            </a:r>
            <a:r>
              <a:rPr lang="en-GB"/>
              <a:t> choose to make Commission software available for reuse… </a:t>
            </a:r>
          </a:p>
          <a:p>
            <a:r>
              <a:rPr lang="en-GB"/>
              <a:t>Such software </a:t>
            </a:r>
            <a:r>
              <a:rPr lang="en-GB" b="1" i="1" u="sng"/>
              <a:t>shall be licensed</a:t>
            </a:r>
            <a:r>
              <a:rPr lang="en-GB" u="sng"/>
              <a:t> </a:t>
            </a:r>
            <a:r>
              <a:rPr lang="en-GB"/>
              <a:t>under an open source licence</a:t>
            </a:r>
          </a:p>
          <a:p>
            <a:r>
              <a:rPr lang="en-GB"/>
              <a:t>The open source licence granted by the Commission </a:t>
            </a:r>
            <a:r>
              <a:rPr lang="en-GB" b="1" i="1" u="sng"/>
              <a:t>shall be the EUPL</a:t>
            </a:r>
            <a:r>
              <a:rPr lang="en-GB" b="1" i="1"/>
              <a:t> </a:t>
            </a:r>
            <a:r>
              <a:rPr lang="en-GB"/>
              <a:t>(with possible exceptions due to third party obligations or copyleft provisions)</a:t>
            </a:r>
            <a:endParaRPr lang="en-GB" dirty="0"/>
          </a:p>
          <a:p>
            <a:endParaRPr lang="en-GB" dirty="0"/>
          </a:p>
          <a:p>
            <a:endParaRPr lang="en-GB" dirty="0"/>
          </a:p>
        </p:txBody>
      </p:sp>
      <p:sp>
        <p:nvSpPr>
          <p:cNvPr id="5" name="ZoneTexte 4"/>
          <p:cNvSpPr txBox="1"/>
          <p:nvPr/>
        </p:nvSpPr>
        <p:spPr>
          <a:xfrm>
            <a:off x="781050" y="948912"/>
            <a:ext cx="4470399" cy="584775"/>
          </a:xfrm>
          <a:prstGeom prst="rect">
            <a:avLst/>
          </a:prstGeom>
          <a:noFill/>
        </p:spPr>
        <p:txBody>
          <a:bodyPr wrap="square" rtlCol="0">
            <a:spAutoFit/>
          </a:bodyPr>
          <a:lstStyle/>
          <a:p>
            <a:r>
              <a:rPr lang="en-GB" sz="3200" dirty="0"/>
              <a:t>Recommendations</a:t>
            </a:r>
          </a:p>
        </p:txBody>
      </p:sp>
      <p:sp>
        <p:nvSpPr>
          <p:cNvPr id="6" name="ZoneTexte 5"/>
          <p:cNvSpPr txBox="1"/>
          <p:nvPr/>
        </p:nvSpPr>
        <p:spPr>
          <a:xfrm>
            <a:off x="7848601" y="869220"/>
            <a:ext cx="3416300" cy="584775"/>
          </a:xfrm>
          <a:prstGeom prst="rect">
            <a:avLst/>
          </a:prstGeom>
          <a:noFill/>
        </p:spPr>
        <p:txBody>
          <a:bodyPr wrap="square" rtlCol="0">
            <a:spAutoFit/>
          </a:bodyPr>
          <a:lstStyle/>
          <a:p>
            <a:r>
              <a:rPr lang="en-GB" sz="3200"/>
              <a:t>Decisions?</a:t>
            </a:r>
            <a:endParaRPr lang="en-GB" sz="3200" dirty="0"/>
          </a:p>
        </p:txBody>
      </p:sp>
      <p:sp>
        <p:nvSpPr>
          <p:cNvPr id="7" name="Flèche droite 6"/>
          <p:cNvSpPr>
            <a:spLocks/>
          </p:cNvSpPr>
          <p:nvPr/>
        </p:nvSpPr>
        <p:spPr>
          <a:xfrm>
            <a:off x="6095999" y="4369790"/>
            <a:ext cx="989357" cy="5207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ectangle 10">
            <a:extLst>
              <a:ext uri="{FF2B5EF4-FFF2-40B4-BE49-F238E27FC236}">
                <a16:creationId xmlns:a16="http://schemas.microsoft.com/office/drawing/2014/main" id="{2D8D48BF-02CA-48AE-8731-841E17026C1B}"/>
              </a:ext>
            </a:extLst>
          </p:cNvPr>
          <p:cNvSpPr/>
          <p:nvPr/>
        </p:nvSpPr>
        <p:spPr>
          <a:xfrm>
            <a:off x="975366" y="-6866"/>
            <a:ext cx="9895833" cy="1015663"/>
          </a:xfrm>
          <a:prstGeom prst="rect">
            <a:avLst/>
          </a:prstGeom>
        </p:spPr>
        <p:txBody>
          <a:bodyPr wrap="square">
            <a:spAutoFit/>
          </a:bodyPr>
          <a:lstStyle/>
          <a:p>
            <a:r>
              <a:rPr lang="en-GB" sz="6000" dirty="0">
                <a:solidFill>
                  <a:schemeClr val="bg1"/>
                </a:solidFill>
                <a:latin typeface="+mj-lt"/>
                <a:ea typeface="+mj-ea"/>
                <a:cs typeface="+mj-cs"/>
              </a:rPr>
              <a:t>EIF (</a:t>
            </a:r>
            <a:r>
              <a:rPr lang="en-GB" sz="6000">
                <a:solidFill>
                  <a:schemeClr val="bg1"/>
                </a:solidFill>
                <a:latin typeface="+mj-lt"/>
                <a:ea typeface="+mj-ea"/>
                <a:cs typeface="+mj-cs"/>
              </a:rPr>
              <a:t>2017)</a:t>
            </a:r>
            <a:endParaRPr lang="en-GB" sz="6000" dirty="0">
              <a:solidFill>
                <a:schemeClr val="bg1"/>
              </a:solidFill>
              <a:latin typeface="+mj-lt"/>
              <a:ea typeface="+mj-ea"/>
              <a:cs typeface="+mj-cs"/>
            </a:endParaRPr>
          </a:p>
        </p:txBody>
      </p:sp>
    </p:spTree>
    <p:extLst>
      <p:ext uri="{BB962C8B-B14F-4D97-AF65-F5344CB8AC3E}">
        <p14:creationId xmlns:p14="http://schemas.microsoft.com/office/powerpoint/2010/main" val="854684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D79228F-5049-41A0-9EB2-7EEA066581D9}"/>
              </a:ext>
            </a:extLst>
          </p:cNvPr>
          <p:cNvGraphicFramePr>
            <a:graphicFrameLocks noChangeAspect="1"/>
          </p:cNvGraphicFramePr>
          <p:nvPr>
            <p:custDataLst>
              <p:tags r:id="rId1"/>
            </p:custDataLst>
            <p:extLst>
              <p:ext uri="{D42A27DB-BD31-4B8C-83A1-F6EECF244321}">
                <p14:modId xmlns:p14="http://schemas.microsoft.com/office/powerpoint/2010/main" val="1736039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10" name="Object 9" hidden="1">
                        <a:extLst>
                          <a:ext uri="{FF2B5EF4-FFF2-40B4-BE49-F238E27FC236}">
                            <a16:creationId xmlns:a16="http://schemas.microsoft.com/office/drawing/2014/main" id="{2D79228F-5049-41A0-9EB2-7EEA066581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ous-titre 2"/>
          <p:cNvSpPr>
            <a:spLocks noGrp="1"/>
          </p:cNvSpPr>
          <p:nvPr>
            <p:ph type="subTitle" idx="1"/>
          </p:nvPr>
        </p:nvSpPr>
        <p:spPr>
          <a:xfrm>
            <a:off x="895352" y="1604484"/>
            <a:ext cx="5257799" cy="1447057"/>
          </a:xfrm>
        </p:spPr>
        <p:txBody>
          <a:bodyPr/>
          <a:lstStyle/>
          <a:p>
            <a:r>
              <a:rPr lang="en-GB" sz="2000" dirty="0"/>
              <a:t>Joinup proposes a new solution: the JLA, a unique tool allowing everyone to compare and select open licences based on their content.</a:t>
            </a:r>
          </a:p>
          <a:p>
            <a:endParaRPr lang="en-GB" sz="2400" dirty="0"/>
          </a:p>
        </p:txBody>
      </p:sp>
      <p:sp>
        <p:nvSpPr>
          <p:cNvPr id="5" name="ZoneTexte 4"/>
          <p:cNvSpPr txBox="1">
            <a:spLocks/>
          </p:cNvSpPr>
          <p:nvPr/>
        </p:nvSpPr>
        <p:spPr>
          <a:xfrm>
            <a:off x="838201" y="948912"/>
            <a:ext cx="5130652" cy="584775"/>
          </a:xfrm>
          <a:prstGeom prst="rect">
            <a:avLst/>
          </a:prstGeom>
          <a:noFill/>
        </p:spPr>
        <p:txBody>
          <a:bodyPr wrap="square" rtlCol="0">
            <a:spAutoFit/>
          </a:bodyPr>
          <a:lstStyle/>
          <a:p>
            <a:r>
              <a:rPr lang="en-GB" sz="3200" dirty="0"/>
              <a:t>Joinup licensing assistant</a:t>
            </a:r>
          </a:p>
        </p:txBody>
      </p:sp>
      <p:sp>
        <p:nvSpPr>
          <p:cNvPr id="11" name="Rectangle 10">
            <a:extLst>
              <a:ext uri="{FF2B5EF4-FFF2-40B4-BE49-F238E27FC236}">
                <a16:creationId xmlns:a16="http://schemas.microsoft.com/office/drawing/2014/main" id="{2D8D48BF-02CA-48AE-8731-841E17026C1B}"/>
              </a:ext>
            </a:extLst>
          </p:cNvPr>
          <p:cNvSpPr/>
          <p:nvPr/>
        </p:nvSpPr>
        <p:spPr>
          <a:xfrm>
            <a:off x="975366" y="-6866"/>
            <a:ext cx="9895833" cy="1015663"/>
          </a:xfrm>
          <a:prstGeom prst="rect">
            <a:avLst/>
          </a:prstGeom>
        </p:spPr>
        <p:txBody>
          <a:bodyPr wrap="square">
            <a:spAutoFit/>
          </a:bodyPr>
          <a:lstStyle/>
          <a:p>
            <a:r>
              <a:rPr lang="en-GB" sz="6000">
                <a:solidFill>
                  <a:schemeClr val="bg1"/>
                </a:solidFill>
                <a:latin typeface="+mj-lt"/>
                <a:ea typeface="+mj-ea"/>
                <a:cs typeface="+mj-cs"/>
              </a:rPr>
              <a:t>Joinup tools</a:t>
            </a:r>
            <a:endParaRPr lang="en-GB" sz="6000" dirty="0">
              <a:solidFill>
                <a:schemeClr val="bg1"/>
              </a:solidFill>
              <a:latin typeface="+mj-lt"/>
              <a:ea typeface="+mj-ea"/>
              <a:cs typeface="+mj-cs"/>
            </a:endParaRPr>
          </a:p>
        </p:txBody>
      </p:sp>
      <p:pic>
        <p:nvPicPr>
          <p:cNvPr id="8" name="Picture 7">
            <a:extLst>
              <a:ext uri="{FF2B5EF4-FFF2-40B4-BE49-F238E27FC236}">
                <a16:creationId xmlns:a16="http://schemas.microsoft.com/office/drawing/2014/main" id="{6B6792F8-14F4-464F-9145-27EE9F88DCC4}"/>
              </a:ext>
            </a:extLst>
          </p:cNvPr>
          <p:cNvPicPr>
            <a:picLocks noChangeAspect="1"/>
          </p:cNvPicPr>
          <p:nvPr/>
        </p:nvPicPr>
        <p:blipFill>
          <a:blip r:embed="rId6"/>
          <a:stretch>
            <a:fillRect/>
          </a:stretch>
        </p:blipFill>
        <p:spPr>
          <a:xfrm>
            <a:off x="6419425" y="2195446"/>
            <a:ext cx="5680497" cy="3124047"/>
          </a:xfrm>
          <a:prstGeom prst="rect">
            <a:avLst/>
          </a:prstGeom>
        </p:spPr>
      </p:pic>
      <p:sp>
        <p:nvSpPr>
          <p:cNvPr id="12" name="Sous-titre 2">
            <a:extLst>
              <a:ext uri="{FF2B5EF4-FFF2-40B4-BE49-F238E27FC236}">
                <a16:creationId xmlns:a16="http://schemas.microsoft.com/office/drawing/2014/main" id="{6506EB9F-23F7-4055-845E-9187EEFE0D18}"/>
              </a:ext>
            </a:extLst>
          </p:cNvPr>
          <p:cNvSpPr txBox="1">
            <a:spLocks/>
          </p:cNvSpPr>
          <p:nvPr/>
        </p:nvSpPr>
        <p:spPr>
          <a:xfrm>
            <a:off x="895352" y="4363537"/>
            <a:ext cx="5257799" cy="144705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bg1">
                    <a:lumMod val="50000"/>
                  </a:schemeClr>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2000" dirty="0"/>
              <a:t>The objective of this functionality is to determine how far and on which licences a work using/combining data or software components licensed under different licences can be distributed and under which licence(s).</a:t>
            </a:r>
          </a:p>
        </p:txBody>
      </p:sp>
      <p:sp>
        <p:nvSpPr>
          <p:cNvPr id="13" name="ZoneTexte 4">
            <a:extLst>
              <a:ext uri="{FF2B5EF4-FFF2-40B4-BE49-F238E27FC236}">
                <a16:creationId xmlns:a16="http://schemas.microsoft.com/office/drawing/2014/main" id="{E11E4568-8D18-4581-8B0B-E4E50F681B04}"/>
              </a:ext>
            </a:extLst>
          </p:cNvPr>
          <p:cNvSpPr txBox="1">
            <a:spLocks/>
          </p:cNvSpPr>
          <p:nvPr/>
        </p:nvSpPr>
        <p:spPr>
          <a:xfrm>
            <a:off x="838201" y="3218861"/>
            <a:ext cx="5130652" cy="1077218"/>
          </a:xfrm>
          <a:prstGeom prst="rect">
            <a:avLst/>
          </a:prstGeom>
          <a:noFill/>
        </p:spPr>
        <p:txBody>
          <a:bodyPr wrap="square" rtlCol="0">
            <a:spAutoFit/>
          </a:bodyPr>
          <a:lstStyle/>
          <a:p>
            <a:r>
              <a:rPr lang="en-GB" sz="3200"/>
              <a:t>Joinup licensing compability checker</a:t>
            </a:r>
            <a:endParaRPr lang="en-GB" sz="3200" dirty="0"/>
          </a:p>
        </p:txBody>
      </p:sp>
    </p:spTree>
    <p:extLst>
      <p:ext uri="{BB962C8B-B14F-4D97-AF65-F5344CB8AC3E}">
        <p14:creationId xmlns:p14="http://schemas.microsoft.com/office/powerpoint/2010/main" val="3898206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399A604-E547-44B3-B4E1-C685692E00C0}"/>
              </a:ext>
            </a:extLst>
          </p:cNvPr>
          <p:cNvGraphicFramePr>
            <a:graphicFrameLocks noChangeAspect="1"/>
          </p:cNvGraphicFramePr>
          <p:nvPr>
            <p:custDataLst>
              <p:tags r:id="rId1"/>
            </p:custDataLst>
            <p:extLst>
              <p:ext uri="{D42A27DB-BD31-4B8C-83A1-F6EECF244321}">
                <p14:modId xmlns:p14="http://schemas.microsoft.com/office/powerpoint/2010/main" val="4194650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1399A604-E547-44B3-B4E1-C685692E00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ous-titre 2"/>
          <p:cNvSpPr>
            <a:spLocks noGrp="1"/>
          </p:cNvSpPr>
          <p:nvPr>
            <p:ph type="subTitle" idx="1"/>
          </p:nvPr>
        </p:nvSpPr>
        <p:spPr>
          <a:xfrm>
            <a:off x="838200" y="1371600"/>
            <a:ext cx="10889439" cy="4409372"/>
          </a:xfrm>
        </p:spPr>
        <p:txBody>
          <a:bodyPr/>
          <a:lstStyle/>
          <a:p>
            <a:r>
              <a:rPr lang="en-GB" sz="2000" dirty="0"/>
              <a:t>Historically (2006) packaged software in European software spending is only 19%.  Much more is spent on custom- built software (52%) and internal software development (29%).</a:t>
            </a:r>
          </a:p>
          <a:p>
            <a:endParaRPr lang="en-GB" sz="2000" dirty="0"/>
          </a:p>
          <a:p>
            <a:r>
              <a:rPr lang="en-GB" sz="2000" dirty="0"/>
              <a:t>In the public sector, a lot of software is custom-built, or developed in-house. Public sector information system is not a domain with a large private-sector market.</a:t>
            </a:r>
          </a:p>
          <a:p>
            <a:r>
              <a:rPr lang="en-GB" sz="2000" dirty="0"/>
              <a:t>About 10% of local public authorities in the EU had or were in a position to release software they owned (custom-built or developed in-house) as open source.</a:t>
            </a:r>
          </a:p>
          <a:p>
            <a:endParaRPr lang="en-GB" sz="2000" dirty="0"/>
          </a:p>
          <a:p>
            <a:r>
              <a:rPr lang="en-GB" sz="2000" dirty="0"/>
              <a:t>Joint software procurement still has to be promoted.</a:t>
            </a:r>
          </a:p>
          <a:p>
            <a:endParaRPr lang="en-GB" sz="2400" dirty="0"/>
          </a:p>
        </p:txBody>
      </p:sp>
      <p:sp>
        <p:nvSpPr>
          <p:cNvPr id="7" name="Rectangle 6">
            <a:extLst>
              <a:ext uri="{FF2B5EF4-FFF2-40B4-BE49-F238E27FC236}">
                <a16:creationId xmlns:a16="http://schemas.microsoft.com/office/drawing/2014/main" id="{45ED1607-271B-4B1B-BA85-D667B5140767}"/>
              </a:ext>
            </a:extLst>
          </p:cNvPr>
          <p:cNvSpPr/>
          <p:nvPr/>
        </p:nvSpPr>
        <p:spPr>
          <a:xfrm>
            <a:off x="975366" y="-6866"/>
            <a:ext cx="11953825" cy="1015663"/>
          </a:xfrm>
          <a:prstGeom prst="rect">
            <a:avLst/>
          </a:prstGeom>
        </p:spPr>
        <p:txBody>
          <a:bodyPr wrap="square">
            <a:spAutoFit/>
          </a:bodyPr>
          <a:lstStyle/>
          <a:p>
            <a:r>
              <a:rPr lang="en-GB" sz="6000" dirty="0">
                <a:solidFill>
                  <a:schemeClr val="bg1"/>
                </a:solidFill>
                <a:latin typeface="+mj-lt"/>
                <a:ea typeface="+mj-ea"/>
                <a:cs typeface="+mj-cs"/>
              </a:rPr>
              <a:t>Off-the-shelf or </a:t>
            </a:r>
            <a:r>
              <a:rPr lang="en-GB" sz="6000">
                <a:solidFill>
                  <a:schemeClr val="bg1"/>
                </a:solidFill>
                <a:latin typeface="+mj-lt"/>
                <a:ea typeface="+mj-ea"/>
                <a:cs typeface="+mj-cs"/>
              </a:rPr>
              <a:t>custom-built?</a:t>
            </a:r>
            <a:endParaRPr lang="en-GB" sz="6000" dirty="0">
              <a:solidFill>
                <a:schemeClr val="bg1"/>
              </a:solidFill>
              <a:latin typeface="+mj-lt"/>
              <a:ea typeface="+mj-ea"/>
              <a:cs typeface="+mj-cs"/>
            </a:endParaRPr>
          </a:p>
        </p:txBody>
      </p:sp>
    </p:spTree>
    <p:extLst>
      <p:ext uri="{BB962C8B-B14F-4D97-AF65-F5344CB8AC3E}">
        <p14:creationId xmlns:p14="http://schemas.microsoft.com/office/powerpoint/2010/main" val="740699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5E0CADC-8873-4556-8F16-EA22161F6F5C}"/>
              </a:ext>
            </a:extLst>
          </p:cNvPr>
          <p:cNvGraphicFramePr>
            <a:graphicFrameLocks noChangeAspect="1"/>
          </p:cNvGraphicFramePr>
          <p:nvPr>
            <p:custDataLst>
              <p:tags r:id="rId1"/>
            </p:custDataLst>
            <p:extLst>
              <p:ext uri="{D42A27DB-BD31-4B8C-83A1-F6EECF244321}">
                <p14:modId xmlns:p14="http://schemas.microsoft.com/office/powerpoint/2010/main" val="3269643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9" name="Object 8" hidden="1">
                        <a:extLst>
                          <a:ext uri="{FF2B5EF4-FFF2-40B4-BE49-F238E27FC236}">
                            <a16:creationId xmlns:a16="http://schemas.microsoft.com/office/drawing/2014/main" id="{A5E0CADC-8873-4556-8F16-EA22161F6F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ous-titre 2"/>
          <p:cNvSpPr>
            <a:spLocks noGrp="1"/>
          </p:cNvSpPr>
          <p:nvPr>
            <p:ph type="subTitle" idx="1"/>
          </p:nvPr>
        </p:nvSpPr>
        <p:spPr>
          <a:xfrm>
            <a:off x="839971" y="1634535"/>
            <a:ext cx="6348229" cy="4597723"/>
          </a:xfrm>
        </p:spPr>
        <p:txBody>
          <a:bodyPr/>
          <a:lstStyle/>
          <a:p>
            <a:r>
              <a:rPr lang="en-GB" sz="2000" dirty="0"/>
              <a:t>The « </a:t>
            </a:r>
            <a:r>
              <a:rPr lang="en-GB" sz="2000" b="1" dirty="0"/>
              <a:t>socle </a:t>
            </a:r>
            <a:r>
              <a:rPr lang="en-GB" sz="2000" b="1" dirty="0" err="1"/>
              <a:t>interministériel</a:t>
            </a:r>
            <a:r>
              <a:rPr lang="en-GB" sz="2000" b="1" dirty="0"/>
              <a:t> de </a:t>
            </a:r>
            <a:r>
              <a:rPr lang="en-GB" sz="2000" b="1" dirty="0" err="1"/>
              <a:t>logiciels</a:t>
            </a:r>
            <a:r>
              <a:rPr lang="en-GB" sz="2000" b="1" dirty="0"/>
              <a:t> </a:t>
            </a:r>
            <a:r>
              <a:rPr lang="en-GB" sz="2000" b="1" dirty="0" err="1"/>
              <a:t>libres</a:t>
            </a:r>
            <a:r>
              <a:rPr lang="en-GB" sz="2000" dirty="0"/>
              <a:t> (SILL) » is a catalogue of Open Source software</a:t>
            </a:r>
          </a:p>
          <a:p>
            <a:r>
              <a:rPr lang="en-GB" sz="2000" dirty="0"/>
              <a:t>As from 2013 (updated in 2021), the SILL includes 227 software. For 165 software, the SILL is a « </a:t>
            </a:r>
            <a:r>
              <a:rPr lang="en-GB" sz="2000" b="1" dirty="0" err="1"/>
              <a:t>recommandation</a:t>
            </a:r>
            <a:r>
              <a:rPr lang="en-GB" sz="2000" dirty="0"/>
              <a:t> ».</a:t>
            </a:r>
          </a:p>
          <a:p>
            <a:r>
              <a:rPr lang="en-GB" sz="2000" dirty="0"/>
              <a:t>For 49 software, the SILL reports a simple mention (« observation »).</a:t>
            </a:r>
          </a:p>
          <a:p>
            <a:r>
              <a:rPr lang="en-GB" sz="2000" dirty="0"/>
              <a:t> The CRPA limits procurement licences:</a:t>
            </a:r>
          </a:p>
          <a:p>
            <a:pPr marL="342900" indent="-342900">
              <a:buFont typeface="Wingdings" panose="05000000000000000000" pitchFamily="2" charset="2"/>
              <a:buChar char="§"/>
            </a:pPr>
            <a:r>
              <a:rPr lang="en-GB" sz="2000" dirty="0" err="1"/>
              <a:t>Permissives</a:t>
            </a:r>
            <a:r>
              <a:rPr lang="en-GB" sz="2000" dirty="0"/>
              <a:t>: </a:t>
            </a:r>
            <a:r>
              <a:rPr lang="en-GB" sz="2000" b="1" dirty="0"/>
              <a:t>MIT, BSD or APACHE</a:t>
            </a:r>
          </a:p>
          <a:p>
            <a:pPr marL="342900" indent="-342900">
              <a:buFont typeface="Wingdings" panose="05000000000000000000" pitchFamily="2" charset="2"/>
              <a:buChar char="§"/>
            </a:pPr>
            <a:r>
              <a:rPr lang="en-GB" sz="2000" dirty="0"/>
              <a:t>Reciprocal:  </a:t>
            </a:r>
            <a:r>
              <a:rPr lang="en-GB" sz="2000" b="1" dirty="0"/>
              <a:t>EUPL, </a:t>
            </a:r>
            <a:r>
              <a:rPr lang="en-GB" sz="2000" b="1" dirty="0" err="1"/>
              <a:t>CeCILL</a:t>
            </a:r>
            <a:r>
              <a:rPr lang="en-GB" sz="2000" b="1" dirty="0"/>
              <a:t>, GPL, LGPL, MPL, EPL</a:t>
            </a:r>
          </a:p>
          <a:p>
            <a:pPr marL="285750" indent="-285750">
              <a:buFontTx/>
              <a:buChar char="-"/>
            </a:pPr>
            <a:endParaRPr lang="en-GB" sz="2400" dirty="0"/>
          </a:p>
          <a:p>
            <a:pPr marL="285750" indent="-285750">
              <a:buFontTx/>
              <a:buChar char="-"/>
            </a:pPr>
            <a:endParaRPr lang="en-GB" sz="2400" dirty="0"/>
          </a:p>
          <a:p>
            <a:endParaRPr lang="en-GB" dirty="0"/>
          </a:p>
        </p:txBody>
      </p:sp>
      <p:graphicFrame>
        <p:nvGraphicFramePr>
          <p:cNvPr id="4" name="Tableau 3"/>
          <p:cNvGraphicFramePr>
            <a:graphicFrameLocks noGrp="1"/>
          </p:cNvGraphicFramePr>
          <p:nvPr>
            <p:extLst>
              <p:ext uri="{D42A27DB-BD31-4B8C-83A1-F6EECF244321}">
                <p14:modId xmlns:p14="http://schemas.microsoft.com/office/powerpoint/2010/main" val="3979754348"/>
              </p:ext>
            </p:extLst>
          </p:nvPr>
        </p:nvGraphicFramePr>
        <p:xfrm>
          <a:off x="7188200" y="-4"/>
          <a:ext cx="5003800" cy="6858001"/>
        </p:xfrm>
        <a:graphic>
          <a:graphicData uri="http://schemas.openxmlformats.org/drawingml/2006/table">
            <a:tbl>
              <a:tblPr/>
              <a:tblGrid>
                <a:gridCol w="2501900">
                  <a:extLst>
                    <a:ext uri="{9D8B030D-6E8A-4147-A177-3AD203B41FA5}">
                      <a16:colId xmlns:a16="http://schemas.microsoft.com/office/drawing/2014/main" val="20000"/>
                    </a:ext>
                  </a:extLst>
                </a:gridCol>
                <a:gridCol w="2501900">
                  <a:extLst>
                    <a:ext uri="{9D8B030D-6E8A-4147-A177-3AD203B41FA5}">
                      <a16:colId xmlns:a16="http://schemas.microsoft.com/office/drawing/2014/main" val="20001"/>
                    </a:ext>
                  </a:extLst>
                </a:gridCol>
              </a:tblGrid>
              <a:tr h="181619">
                <a:tc>
                  <a:txBody>
                    <a:bodyPr/>
                    <a:lstStyle/>
                    <a:p>
                      <a:pPr algn="ctr" rtl="0"/>
                      <a:r>
                        <a:rPr lang="en-GB" sz="600" dirty="0" err="1">
                          <a:effectLst/>
                        </a:rPr>
                        <a:t>Fonctionnalité</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tc>
                  <a:txBody>
                    <a:bodyPr/>
                    <a:lstStyle/>
                    <a:p>
                      <a:pPr algn="ctr" rtl="0"/>
                      <a:r>
                        <a:rPr lang="en-GB" sz="600" dirty="0" err="1">
                          <a:effectLst/>
                        </a:rPr>
                        <a:t>Logiciel</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EAECF0"/>
                    </a:solidFill>
                  </a:tcPr>
                </a:tc>
                <a:extLst>
                  <a:ext uri="{0D108BD9-81ED-4DB2-BD59-A6C34878D82A}">
                    <a16:rowId xmlns:a16="http://schemas.microsoft.com/office/drawing/2014/main" val="10000"/>
                  </a:ext>
                </a:extLst>
              </a:tr>
              <a:tr h="181619">
                <a:tc>
                  <a:txBody>
                    <a:bodyPr/>
                    <a:lstStyle/>
                    <a:p>
                      <a:pPr rtl="0"/>
                      <a:r>
                        <a:rPr lang="en-GB" sz="600" u="none" strike="noStrike">
                          <a:solidFill>
                            <a:srgbClr val="0645AD"/>
                          </a:solidFill>
                          <a:effectLst/>
                          <a:hlinkClick r:id="rId6" tooltip="Gestionnaire de mots de passe"/>
                        </a:rPr>
                        <a:t>Gestion des mots de pass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7" tooltip="KeePass"/>
                        </a:rPr>
                        <a:t>KeePass</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01"/>
                  </a:ext>
                </a:extLst>
              </a:tr>
              <a:tr h="181619">
                <a:tc>
                  <a:txBody>
                    <a:bodyPr/>
                    <a:lstStyle/>
                    <a:p>
                      <a:pPr rtl="0"/>
                      <a:r>
                        <a:rPr lang="en-GB" sz="600" u="none" strike="noStrike" dirty="0">
                          <a:solidFill>
                            <a:srgbClr val="0645AD"/>
                          </a:solidFill>
                          <a:effectLst/>
                          <a:hlinkClick r:id="rId8" tooltip="Liste de logiciels de compression de données"/>
                        </a:rPr>
                        <a:t>Compression</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9" tooltip="7-zip"/>
                        </a:rPr>
                        <a:t>7-zip</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02"/>
                  </a:ext>
                </a:extLst>
              </a:tr>
              <a:tr h="181619">
                <a:tc>
                  <a:txBody>
                    <a:bodyPr/>
                    <a:lstStyle/>
                    <a:p>
                      <a:pPr rtl="0"/>
                      <a:r>
                        <a:rPr lang="en-GB" sz="600" u="none" strike="noStrike" dirty="0">
                          <a:solidFill>
                            <a:srgbClr val="0645AD"/>
                          </a:solidFill>
                          <a:effectLst/>
                          <a:hlinkClick r:id="rId10" tooltip="Suite bureautique"/>
                        </a:rPr>
                        <a:t>Suite </a:t>
                      </a:r>
                      <a:r>
                        <a:rPr lang="en-GB" sz="600" u="none" strike="noStrike" dirty="0" err="1">
                          <a:solidFill>
                            <a:srgbClr val="0645AD"/>
                          </a:solidFill>
                          <a:effectLst/>
                          <a:hlinkClick r:id="rId10" tooltip="Suite bureautique"/>
                        </a:rPr>
                        <a:t>bureautiqu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11" tooltip="LibreOffice"/>
                        </a:rPr>
                        <a:t>LibreOffic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03"/>
                  </a:ext>
                </a:extLst>
              </a:tr>
              <a:tr h="181619">
                <a:tc>
                  <a:txBody>
                    <a:bodyPr/>
                    <a:lstStyle/>
                    <a:p>
                      <a:pPr rtl="0"/>
                      <a:r>
                        <a:rPr lang="en-GB" sz="600" u="none" strike="noStrike" dirty="0" err="1">
                          <a:solidFill>
                            <a:srgbClr val="0645AD"/>
                          </a:solidFill>
                          <a:effectLst/>
                          <a:hlinkClick r:id="rId12" tooltip="Éditeur de texte"/>
                        </a:rPr>
                        <a:t>Éditeur</a:t>
                      </a:r>
                      <a:r>
                        <a:rPr lang="en-GB" sz="600" u="none" strike="noStrike" dirty="0">
                          <a:solidFill>
                            <a:srgbClr val="0645AD"/>
                          </a:solidFill>
                          <a:effectLst/>
                          <a:hlinkClick r:id="rId12" tooltip="Éditeur de texte"/>
                        </a:rPr>
                        <a:t> de </a:t>
                      </a:r>
                      <a:r>
                        <a:rPr lang="en-GB" sz="600" u="none" strike="noStrike" dirty="0" err="1">
                          <a:solidFill>
                            <a:srgbClr val="0645AD"/>
                          </a:solidFill>
                          <a:effectLst/>
                          <a:hlinkClick r:id="rId12" tooltip="Éditeur de texte"/>
                        </a:rPr>
                        <a:t>text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13" tooltip="Notepad++"/>
                        </a:rPr>
                        <a:t>Notepad++</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04"/>
                  </a:ext>
                </a:extLst>
              </a:tr>
              <a:tr h="181619">
                <a:tc>
                  <a:txBody>
                    <a:bodyPr/>
                    <a:lstStyle/>
                    <a:p>
                      <a:pPr rtl="0"/>
                      <a:r>
                        <a:rPr lang="en-GB" sz="600" u="none" strike="noStrike">
                          <a:solidFill>
                            <a:srgbClr val="0645AD"/>
                          </a:solidFill>
                          <a:effectLst/>
                          <a:hlinkClick r:id="rId14" tooltip="Catégorie:Lecteur de fichiers PDF"/>
                        </a:rPr>
                        <a:t>Lecture et modification de fichiers PDF</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15" tooltip="Sumatra PDF"/>
                        </a:rPr>
                        <a:t>Sumatra </a:t>
                      </a:r>
                      <a:r>
                        <a:rPr lang="en-GB" sz="600" u="none" strike="noStrike" dirty="0" err="1">
                          <a:solidFill>
                            <a:srgbClr val="0645AD"/>
                          </a:solidFill>
                          <a:effectLst/>
                          <a:hlinkClick r:id="rId15" tooltip="Sumatra PDF"/>
                        </a:rPr>
                        <a:t>PDF</a:t>
                      </a:r>
                      <a:r>
                        <a:rPr lang="en-GB" sz="600" u="none" strike="noStrike" dirty="0" err="1">
                          <a:solidFill>
                            <a:srgbClr val="3366BB"/>
                          </a:solidFill>
                          <a:effectLst/>
                          <a:hlinkClick r:id="rId16" tooltip="en:MuPDF"/>
                        </a:rPr>
                        <a:t>MuPDF</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05"/>
                  </a:ext>
                </a:extLst>
              </a:tr>
              <a:tr h="181619">
                <a:tc>
                  <a:txBody>
                    <a:bodyPr/>
                    <a:lstStyle/>
                    <a:p>
                      <a:pPr rtl="0"/>
                      <a:r>
                        <a:rPr lang="en-GB" sz="600" u="none" strike="noStrike" dirty="0" err="1">
                          <a:solidFill>
                            <a:srgbClr val="0645AD"/>
                          </a:solidFill>
                          <a:effectLst/>
                          <a:hlinkClick r:id="rId17" tooltip="Système d'information géographique"/>
                        </a:rPr>
                        <a:t>Système</a:t>
                      </a:r>
                      <a:r>
                        <a:rPr lang="en-GB" sz="600" u="none" strike="noStrike" dirty="0">
                          <a:solidFill>
                            <a:srgbClr val="0645AD"/>
                          </a:solidFill>
                          <a:effectLst/>
                          <a:hlinkClick r:id="rId17" tooltip="Système d'information géographique"/>
                        </a:rPr>
                        <a:t> </a:t>
                      </a:r>
                      <a:r>
                        <a:rPr lang="en-GB" sz="600" u="none" strike="noStrike" dirty="0" err="1">
                          <a:solidFill>
                            <a:srgbClr val="0645AD"/>
                          </a:solidFill>
                          <a:effectLst/>
                          <a:hlinkClick r:id="rId17" tooltip="Système d'information géographique"/>
                        </a:rPr>
                        <a:t>d'information</a:t>
                      </a:r>
                      <a:r>
                        <a:rPr lang="en-GB" sz="600" u="none" strike="noStrike" dirty="0">
                          <a:solidFill>
                            <a:srgbClr val="0645AD"/>
                          </a:solidFill>
                          <a:effectLst/>
                          <a:hlinkClick r:id="rId17" tooltip="Système d'information géographique"/>
                        </a:rPr>
                        <a:t> </a:t>
                      </a:r>
                      <a:r>
                        <a:rPr lang="en-GB" sz="600" u="none" strike="noStrike" dirty="0" err="1">
                          <a:solidFill>
                            <a:srgbClr val="0645AD"/>
                          </a:solidFill>
                          <a:effectLst/>
                          <a:hlinkClick r:id="rId17" tooltip="Système d'information géographique"/>
                        </a:rPr>
                        <a:t>géographiqu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18" tooltip="QGIS"/>
                        </a:rPr>
                        <a:t>QGIS</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06"/>
                  </a:ext>
                </a:extLst>
              </a:tr>
              <a:tr h="181619">
                <a:tc>
                  <a:txBody>
                    <a:bodyPr/>
                    <a:lstStyle/>
                    <a:p>
                      <a:pPr rtl="0"/>
                      <a:r>
                        <a:rPr lang="en-GB" sz="600" u="none" strike="noStrike" dirty="0">
                          <a:solidFill>
                            <a:srgbClr val="0645AD"/>
                          </a:solidFill>
                          <a:effectLst/>
                          <a:hlinkClick r:id="rId19" tooltip="Publication assistée par ordinateur"/>
                        </a:rPr>
                        <a:t>Publication (PAO)</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20" tooltip="Scribus"/>
                        </a:rPr>
                        <a:t>Scribus</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07"/>
                  </a:ext>
                </a:extLst>
              </a:tr>
              <a:tr h="181619">
                <a:tc>
                  <a:txBody>
                    <a:bodyPr/>
                    <a:lstStyle/>
                    <a:p>
                      <a:pPr rtl="0"/>
                      <a:r>
                        <a:rPr lang="en-GB" sz="600" u="none" strike="noStrike" dirty="0">
                          <a:solidFill>
                            <a:srgbClr val="0645AD"/>
                          </a:solidFill>
                          <a:effectLst/>
                          <a:hlinkClick r:id="rId21" tooltip="Éditeur d'image matricielle"/>
                        </a:rPr>
                        <a:t>Dessin (</a:t>
                      </a:r>
                      <a:r>
                        <a:rPr lang="en-GB" sz="600" u="none" strike="noStrike" dirty="0" err="1">
                          <a:solidFill>
                            <a:srgbClr val="0645AD"/>
                          </a:solidFill>
                          <a:effectLst/>
                          <a:hlinkClick r:id="rId21" tooltip="Éditeur d'image matricielle"/>
                        </a:rPr>
                        <a:t>matriciel</a:t>
                      </a:r>
                      <a:r>
                        <a:rPr lang="en-GB" sz="600" u="none" strike="noStrike" dirty="0">
                          <a:solidFill>
                            <a:srgbClr val="0645AD"/>
                          </a:solidFill>
                          <a:effectLst/>
                          <a:hlinkClick r:id="rId21" tooltip="Éditeur d'image matricielle"/>
                        </a:rPr>
                        <a:t>)</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22" tooltip="Gimp"/>
                        </a:rPr>
                        <a:t>Gimp</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08"/>
                  </a:ext>
                </a:extLst>
              </a:tr>
              <a:tr h="181619">
                <a:tc>
                  <a:txBody>
                    <a:bodyPr/>
                    <a:lstStyle/>
                    <a:p>
                      <a:pPr rtl="0"/>
                      <a:r>
                        <a:rPr lang="en-GB" sz="600" u="none" strike="noStrike" dirty="0">
                          <a:solidFill>
                            <a:srgbClr val="0645AD"/>
                          </a:solidFill>
                          <a:effectLst/>
                          <a:hlinkClick r:id="rId23" tooltip="Image vectorielle"/>
                        </a:rPr>
                        <a:t>Dessin (</a:t>
                      </a:r>
                      <a:r>
                        <a:rPr lang="en-GB" sz="600" u="none" strike="noStrike" dirty="0" err="1">
                          <a:solidFill>
                            <a:srgbClr val="0645AD"/>
                          </a:solidFill>
                          <a:effectLst/>
                          <a:hlinkClick r:id="rId23" tooltip="Image vectorielle"/>
                        </a:rPr>
                        <a:t>vectoriel</a:t>
                      </a:r>
                      <a:r>
                        <a:rPr lang="en-GB" sz="600" u="none" strike="noStrike" dirty="0">
                          <a:solidFill>
                            <a:srgbClr val="0645AD"/>
                          </a:solidFill>
                          <a:effectLst/>
                          <a:hlinkClick r:id="rId23" tooltip="Image vectorielle"/>
                        </a:rPr>
                        <a:t>)</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24" tooltip="Inkscape"/>
                        </a:rPr>
                        <a:t>InkScap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09"/>
                  </a:ext>
                </a:extLst>
              </a:tr>
              <a:tr h="181619">
                <a:tc>
                  <a:txBody>
                    <a:bodyPr/>
                    <a:lstStyle/>
                    <a:p>
                      <a:pPr rtl="0"/>
                      <a:r>
                        <a:rPr lang="en-GB" sz="600" u="none" strike="noStrike" dirty="0" err="1">
                          <a:solidFill>
                            <a:srgbClr val="0645AD"/>
                          </a:solidFill>
                          <a:effectLst/>
                          <a:hlinkClick r:id="rId25" tooltip="Client de messagerie"/>
                        </a:rPr>
                        <a:t>Courrielleur</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26" tooltip="Mozilla Thunderbird"/>
                        </a:rPr>
                        <a:t>Thunderbird</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0"/>
                  </a:ext>
                </a:extLst>
              </a:tr>
              <a:tr h="181619">
                <a:tc>
                  <a:txBody>
                    <a:bodyPr/>
                    <a:lstStyle/>
                    <a:p>
                      <a:pPr rtl="0"/>
                      <a:r>
                        <a:rPr lang="en-GB" sz="600" u="none" strike="noStrike" dirty="0">
                          <a:solidFill>
                            <a:srgbClr val="0645AD"/>
                          </a:solidFill>
                          <a:effectLst/>
                          <a:hlinkClick r:id="rId27" tooltip="Messagerie instantanée"/>
                        </a:rPr>
                        <a:t>Client de </a:t>
                      </a:r>
                      <a:r>
                        <a:rPr lang="en-GB" sz="600" u="none" strike="noStrike" dirty="0" err="1">
                          <a:solidFill>
                            <a:srgbClr val="0645AD"/>
                          </a:solidFill>
                          <a:effectLst/>
                          <a:hlinkClick r:id="rId27" tooltip="Messagerie instantanée"/>
                        </a:rPr>
                        <a:t>messagerie</a:t>
                      </a:r>
                      <a:r>
                        <a:rPr lang="en-GB" sz="600" u="none" strike="noStrike" dirty="0">
                          <a:solidFill>
                            <a:srgbClr val="0645AD"/>
                          </a:solidFill>
                          <a:effectLst/>
                          <a:hlinkClick r:id="rId27" tooltip="Messagerie instantanée"/>
                        </a:rPr>
                        <a:t> </a:t>
                      </a:r>
                      <a:r>
                        <a:rPr lang="en-GB" sz="600" u="none" strike="noStrike" dirty="0" err="1">
                          <a:solidFill>
                            <a:srgbClr val="0645AD"/>
                          </a:solidFill>
                          <a:effectLst/>
                          <a:hlinkClick r:id="rId27" tooltip="Messagerie instantanée"/>
                        </a:rPr>
                        <a:t>instantané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28" tooltip="Jitsi"/>
                        </a:rPr>
                        <a:t>Jitsi</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1"/>
                  </a:ext>
                </a:extLst>
              </a:tr>
              <a:tr h="181619">
                <a:tc>
                  <a:txBody>
                    <a:bodyPr/>
                    <a:lstStyle/>
                    <a:p>
                      <a:pPr rtl="0"/>
                      <a:r>
                        <a:rPr lang="en-GB" sz="600" u="none" strike="noStrike" dirty="0">
                          <a:solidFill>
                            <a:srgbClr val="0645AD"/>
                          </a:solidFill>
                          <a:effectLst/>
                          <a:hlinkClick r:id="rId29" tooltip="Microblog"/>
                        </a:rPr>
                        <a:t>Microblog</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30" tooltip="Mastodon (réseau social)"/>
                        </a:rPr>
                        <a:t>Mastodon</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2"/>
                  </a:ext>
                </a:extLst>
              </a:tr>
              <a:tr h="181619">
                <a:tc>
                  <a:txBody>
                    <a:bodyPr/>
                    <a:lstStyle/>
                    <a:p>
                      <a:pPr rtl="0"/>
                      <a:r>
                        <a:rPr lang="en-GB" sz="600" u="none" strike="noStrike" dirty="0">
                          <a:solidFill>
                            <a:srgbClr val="0645AD"/>
                          </a:solidFill>
                          <a:effectLst/>
                          <a:hlinkClick r:id="rId31" tooltip="File Transfer Protocol"/>
                        </a:rPr>
                        <a:t>Client FTP</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32" tooltip="Filezilla"/>
                        </a:rPr>
                        <a:t>Filezilla</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3"/>
                  </a:ext>
                </a:extLst>
              </a:tr>
              <a:tr h="181619">
                <a:tc>
                  <a:txBody>
                    <a:bodyPr/>
                    <a:lstStyle/>
                    <a:p>
                      <a:pPr rtl="0"/>
                      <a:r>
                        <a:rPr lang="en-GB" sz="600" u="none" strike="noStrike" dirty="0" err="1">
                          <a:solidFill>
                            <a:srgbClr val="0645AD"/>
                          </a:solidFill>
                          <a:effectLst/>
                          <a:hlinkClick r:id="rId33" tooltip="Navigateur web"/>
                        </a:rPr>
                        <a:t>Navigateur</a:t>
                      </a:r>
                      <a:r>
                        <a:rPr lang="en-GB" sz="600" u="none" strike="noStrike" dirty="0">
                          <a:solidFill>
                            <a:srgbClr val="0645AD"/>
                          </a:solidFill>
                          <a:effectLst/>
                          <a:hlinkClick r:id="rId33" tooltip="Navigateur web"/>
                        </a:rPr>
                        <a:t> web</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34" tooltip="Mozilla Firefox"/>
                        </a:rPr>
                        <a:t>Firefox ESR</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4"/>
                  </a:ext>
                </a:extLst>
              </a:tr>
              <a:tr h="181619">
                <a:tc>
                  <a:txBody>
                    <a:bodyPr/>
                    <a:lstStyle/>
                    <a:p>
                      <a:pPr rtl="0"/>
                      <a:r>
                        <a:rPr lang="en-GB" sz="600" u="none" strike="noStrike" dirty="0" err="1">
                          <a:solidFill>
                            <a:srgbClr val="0645AD"/>
                          </a:solidFill>
                          <a:effectLst/>
                          <a:hlinkClick r:id="rId35" tooltip="Moteur de recherche"/>
                        </a:rPr>
                        <a:t>Moteur</a:t>
                      </a:r>
                      <a:r>
                        <a:rPr lang="en-GB" sz="600" u="none" strike="noStrike" dirty="0">
                          <a:solidFill>
                            <a:srgbClr val="0645AD"/>
                          </a:solidFill>
                          <a:effectLst/>
                          <a:hlinkClick r:id="rId35" tooltip="Moteur de recherche"/>
                        </a:rPr>
                        <a:t> de recherch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36" tooltip="Qwant"/>
                        </a:rPr>
                        <a:t>Qwant</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5"/>
                  </a:ext>
                </a:extLst>
              </a:tr>
              <a:tr h="181619">
                <a:tc>
                  <a:txBody>
                    <a:bodyPr/>
                    <a:lstStyle/>
                    <a:p>
                      <a:pPr rtl="0"/>
                      <a:r>
                        <a:rPr lang="en-GB" sz="600" u="none" strike="noStrike" dirty="0" err="1">
                          <a:solidFill>
                            <a:srgbClr val="0645AD"/>
                          </a:solidFill>
                          <a:effectLst/>
                          <a:hlinkClick r:id="rId37" tooltip="Carte heuristique"/>
                        </a:rPr>
                        <a:t>Grapheur</a:t>
                      </a:r>
                      <a:r>
                        <a:rPr lang="en-GB" sz="600" u="none" strike="noStrike" dirty="0">
                          <a:solidFill>
                            <a:srgbClr val="0645AD"/>
                          </a:solidFill>
                          <a:effectLst/>
                          <a:hlinkClick r:id="rId37" tooltip="Carte heuristique"/>
                        </a:rPr>
                        <a:t> </a:t>
                      </a:r>
                      <a:r>
                        <a:rPr lang="en-GB" sz="600" u="none" strike="noStrike" dirty="0" err="1">
                          <a:solidFill>
                            <a:srgbClr val="0645AD"/>
                          </a:solidFill>
                          <a:effectLst/>
                          <a:hlinkClick r:id="rId37" tooltip="Carte heuristique"/>
                        </a:rPr>
                        <a:t>d'idées</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38" tooltip="Freeplane"/>
                        </a:rPr>
                        <a:t>Freeplan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6"/>
                  </a:ext>
                </a:extLst>
              </a:tr>
              <a:tr h="319717">
                <a:tc>
                  <a:txBody>
                    <a:bodyPr/>
                    <a:lstStyle/>
                    <a:p>
                      <a:pPr rtl="0"/>
                      <a:r>
                        <a:rPr lang="en-GB" sz="600" u="none" strike="noStrike" dirty="0">
                          <a:solidFill>
                            <a:srgbClr val="0645AD"/>
                          </a:solidFill>
                          <a:effectLst/>
                          <a:hlinkClick r:id="rId39" tooltip="Logiciel de gestion de projets"/>
                        </a:rPr>
                        <a:t>Gestion de </a:t>
                      </a:r>
                      <a:r>
                        <a:rPr lang="en-GB" sz="600" u="none" strike="noStrike" dirty="0" err="1">
                          <a:solidFill>
                            <a:srgbClr val="0645AD"/>
                          </a:solidFill>
                          <a:effectLst/>
                          <a:hlinkClick r:id="rId39" tooltip="Logiciel de gestion de projets"/>
                        </a:rPr>
                        <a:t>projet</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40" tooltip="Redmine"/>
                        </a:rPr>
                        <a:t>Redmine</a:t>
                      </a:r>
                      <a:r>
                        <a:rPr lang="en-GB" sz="600" u="none" strike="noStrike" dirty="0" err="1">
                          <a:solidFill>
                            <a:srgbClr val="0645AD"/>
                          </a:solidFill>
                          <a:effectLst/>
                          <a:hlinkClick r:id="rId41" tooltip="ProjectLibre"/>
                        </a:rPr>
                        <a:t>ProjectLibre</a:t>
                      </a:r>
                      <a:endParaRPr lang="en-GB" sz="600" dirty="0">
                        <a:effectLst/>
                      </a:endParaRPr>
                    </a:p>
                    <a:p>
                      <a:pPr rtl="0"/>
                      <a:r>
                        <a:rPr lang="en-GB" sz="600" u="none" strike="noStrike" dirty="0" err="1">
                          <a:solidFill>
                            <a:srgbClr val="3366BB"/>
                          </a:solidFill>
                          <a:effectLst/>
                          <a:hlinkClick r:id="rId42"/>
                        </a:rPr>
                        <a:t>ProjeQtOr</a:t>
                      </a:r>
                      <a:r>
                        <a:rPr lang="en-GB" sz="600" dirty="0">
                          <a:effectLst/>
                        </a:rPr>
                        <a:t> [</a:t>
                      </a:r>
                      <a:r>
                        <a:rPr lang="en-GB" sz="600" u="none" strike="noStrike" dirty="0">
                          <a:solidFill>
                            <a:srgbClr val="3366BB"/>
                          </a:solidFill>
                          <a:effectLst/>
                          <a:hlinkClick r:id="rId43" tooltip="archive sur Wikiwix"/>
                        </a:rPr>
                        <a:t>archive</a:t>
                      </a:r>
                      <a:r>
                        <a:rPr lang="en-GB" sz="600" dirty="0">
                          <a:effectLst/>
                        </a:rPr>
                        <a:t>]</a:t>
                      </a: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7"/>
                  </a:ext>
                </a:extLst>
              </a:tr>
              <a:tr h="181619">
                <a:tc>
                  <a:txBody>
                    <a:bodyPr/>
                    <a:lstStyle/>
                    <a:p>
                      <a:pPr rtl="0"/>
                      <a:r>
                        <a:rPr lang="en-GB" sz="600" u="none" strike="noStrike" dirty="0">
                          <a:solidFill>
                            <a:srgbClr val="0645AD"/>
                          </a:solidFill>
                          <a:effectLst/>
                          <a:hlinkClick r:id="rId44" tooltip="Outil collaboratif"/>
                        </a:rPr>
                        <a:t>Wiki</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45" tooltip="MediaWiki"/>
                        </a:rPr>
                        <a:t>MediaWiki</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8"/>
                  </a:ext>
                </a:extLst>
              </a:tr>
              <a:tr h="181619">
                <a:tc>
                  <a:txBody>
                    <a:bodyPr/>
                    <a:lstStyle/>
                    <a:p>
                      <a:pPr rtl="0"/>
                      <a:r>
                        <a:rPr lang="en-GB" sz="600" u="none" strike="noStrike" dirty="0" err="1">
                          <a:solidFill>
                            <a:srgbClr val="0645AD"/>
                          </a:solidFill>
                          <a:effectLst/>
                          <a:hlinkClick r:id="rId46" tooltip="Lecteur multimédia"/>
                        </a:rPr>
                        <a:t>Lecteur</a:t>
                      </a:r>
                      <a:r>
                        <a:rPr lang="en-GB" sz="600" u="none" strike="noStrike" dirty="0">
                          <a:solidFill>
                            <a:srgbClr val="0645AD"/>
                          </a:solidFill>
                          <a:effectLst/>
                          <a:hlinkClick r:id="rId46" tooltip="Lecteur multimédia"/>
                        </a:rPr>
                        <a:t> </a:t>
                      </a:r>
                      <a:r>
                        <a:rPr lang="en-GB" sz="600" u="none" strike="noStrike" dirty="0" err="1">
                          <a:solidFill>
                            <a:srgbClr val="0645AD"/>
                          </a:solidFill>
                          <a:effectLst/>
                          <a:hlinkClick r:id="rId46" tooltip="Lecteur multimédia"/>
                        </a:rPr>
                        <a:t>multimédia</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47" tooltip="VLC media player"/>
                        </a:rPr>
                        <a:t>VLC</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19"/>
                  </a:ext>
                </a:extLst>
              </a:tr>
              <a:tr h="181619">
                <a:tc>
                  <a:txBody>
                    <a:bodyPr/>
                    <a:lstStyle/>
                    <a:p>
                      <a:pPr rtl="0"/>
                      <a:r>
                        <a:rPr lang="en-GB" sz="600" u="none" strike="noStrike">
                          <a:solidFill>
                            <a:srgbClr val="0645AD"/>
                          </a:solidFill>
                          <a:effectLst/>
                          <a:hlinkClick r:id="rId48" tooltip="Capture d'écran"/>
                        </a:rPr>
                        <a:t>Régie vidéo enregistrement et/ou streaming</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49" tooltip="Open Broadcaster Software"/>
                        </a:rPr>
                        <a:t>Open Broadcaster Softwar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0"/>
                  </a:ext>
                </a:extLst>
              </a:tr>
              <a:tr h="181619">
                <a:tc>
                  <a:txBody>
                    <a:bodyPr/>
                    <a:lstStyle/>
                    <a:p>
                      <a:pPr rtl="0"/>
                      <a:r>
                        <a:rPr lang="en-GB" sz="600" u="none" strike="noStrike" dirty="0">
                          <a:solidFill>
                            <a:srgbClr val="0645AD"/>
                          </a:solidFill>
                          <a:effectLst/>
                          <a:hlinkClick r:id="rId48" tooltip="Capture d'écran"/>
                        </a:rPr>
                        <a:t>Capture </a:t>
                      </a:r>
                      <a:r>
                        <a:rPr lang="en-GB" sz="600" u="none" strike="noStrike" dirty="0" err="1">
                          <a:solidFill>
                            <a:srgbClr val="0645AD"/>
                          </a:solidFill>
                          <a:effectLst/>
                          <a:hlinkClick r:id="rId48" tooltip="Capture d'écran"/>
                        </a:rPr>
                        <a:t>d'écran</a:t>
                      </a:r>
                      <a:r>
                        <a:rPr lang="en-GB" sz="600" u="none" strike="noStrike" dirty="0">
                          <a:solidFill>
                            <a:srgbClr val="0645AD"/>
                          </a:solidFill>
                          <a:effectLst/>
                          <a:hlinkClick r:id="rId48" tooltip="Capture d'écran"/>
                        </a:rPr>
                        <a:t> photo</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50" tooltip="Greenshot"/>
                        </a:rPr>
                        <a:t>Greenshot</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1"/>
                  </a:ext>
                </a:extLst>
              </a:tr>
              <a:tr h="181619">
                <a:tc>
                  <a:txBody>
                    <a:bodyPr/>
                    <a:lstStyle/>
                    <a:p>
                      <a:pPr rtl="0"/>
                      <a:r>
                        <a:rPr lang="en-GB" sz="600" u="none" strike="noStrike" dirty="0">
                          <a:solidFill>
                            <a:srgbClr val="0645AD"/>
                          </a:solidFill>
                          <a:effectLst/>
                          <a:hlinkClick r:id="rId51" tooltip="Montage vidéo"/>
                        </a:rPr>
                        <a:t>Montage </a:t>
                      </a:r>
                      <a:r>
                        <a:rPr lang="en-GB" sz="600" u="none" strike="noStrike" dirty="0" err="1">
                          <a:solidFill>
                            <a:srgbClr val="0645AD"/>
                          </a:solidFill>
                          <a:effectLst/>
                          <a:hlinkClick r:id="rId51" tooltip="Montage vidéo"/>
                        </a:rPr>
                        <a:t>vidéo</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52" tooltip="OpenShot Video Editor"/>
                        </a:rPr>
                        <a:t>OpenShot</a:t>
                      </a:r>
                      <a:r>
                        <a:rPr lang="en-GB" sz="600" u="none" strike="noStrike" dirty="0">
                          <a:solidFill>
                            <a:srgbClr val="0645AD"/>
                          </a:solidFill>
                          <a:effectLst/>
                          <a:hlinkClick r:id="rId52" tooltip="OpenShot Video Editor"/>
                        </a:rPr>
                        <a:t> Video </a:t>
                      </a:r>
                      <a:r>
                        <a:rPr lang="en-GB" sz="600" u="none" strike="noStrike" dirty="0" err="1">
                          <a:solidFill>
                            <a:srgbClr val="0645AD"/>
                          </a:solidFill>
                          <a:effectLst/>
                          <a:hlinkClick r:id="rId52" tooltip="OpenShot Video Editor"/>
                        </a:rPr>
                        <a:t>Editor</a:t>
                      </a:r>
                      <a:r>
                        <a:rPr lang="en-GB" sz="600" u="none" strike="noStrike" dirty="0" err="1">
                          <a:solidFill>
                            <a:srgbClr val="0645AD"/>
                          </a:solidFill>
                          <a:effectLst/>
                          <a:hlinkClick r:id="rId53" tooltip="Avidemux"/>
                        </a:rPr>
                        <a:t>Avidemux</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2"/>
                  </a:ext>
                </a:extLst>
              </a:tr>
              <a:tr h="181619">
                <a:tc>
                  <a:txBody>
                    <a:bodyPr/>
                    <a:lstStyle/>
                    <a:p>
                      <a:pPr rtl="0"/>
                      <a:r>
                        <a:rPr lang="en-GB" sz="600" u="none" strike="noStrike" dirty="0" err="1">
                          <a:solidFill>
                            <a:srgbClr val="0645AD"/>
                          </a:solidFill>
                          <a:effectLst/>
                          <a:hlinkClick r:id="rId54" tooltip="Conférence en ligne"/>
                        </a:rPr>
                        <a:t>Webconférence</a:t>
                      </a:r>
                      <a:r>
                        <a:rPr lang="en-GB" sz="600" dirty="0">
                          <a:effectLst/>
                        </a:rPr>
                        <a:t> à </a:t>
                      </a:r>
                      <a:r>
                        <a:rPr lang="en-GB" sz="600" u="none" strike="noStrike" dirty="0">
                          <a:solidFill>
                            <a:srgbClr val="0645AD"/>
                          </a:solidFill>
                          <a:effectLst/>
                          <a:hlinkClick r:id="rId55" tooltip="Formation à distance"/>
                        </a:rPr>
                        <a:t>usage </a:t>
                      </a:r>
                      <a:r>
                        <a:rPr lang="en-GB" sz="600" u="none" strike="noStrike" dirty="0" err="1">
                          <a:solidFill>
                            <a:srgbClr val="0645AD"/>
                          </a:solidFill>
                          <a:effectLst/>
                          <a:hlinkClick r:id="rId55" tooltip="Formation à distance"/>
                        </a:rPr>
                        <a:t>pédagogiqu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56" tooltip="BigBlueButton"/>
                        </a:rPr>
                        <a:t>BigBlueButton</a:t>
                      </a:r>
                      <a:r>
                        <a:rPr lang="en-GB" sz="600" u="none" strike="noStrike" dirty="0" err="1">
                          <a:solidFill>
                            <a:srgbClr val="0645AD"/>
                          </a:solidFill>
                          <a:effectLst/>
                          <a:hlinkClick r:id="rId28" tooltip="Jitsi"/>
                        </a:rPr>
                        <a:t>Jitsi</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3"/>
                  </a:ext>
                </a:extLst>
              </a:tr>
              <a:tr h="181619">
                <a:tc>
                  <a:txBody>
                    <a:bodyPr/>
                    <a:lstStyle/>
                    <a:p>
                      <a:pPr rtl="0"/>
                      <a:r>
                        <a:rPr lang="en-GB" sz="600" u="none" strike="noStrike" dirty="0" err="1">
                          <a:solidFill>
                            <a:srgbClr val="0645AD"/>
                          </a:solidFill>
                          <a:effectLst/>
                          <a:hlinkClick r:id="rId57" tooltip="Visualisation de données"/>
                        </a:rPr>
                        <a:t>Datavisualisation</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58" tooltip="Apache Superset"/>
                        </a:rPr>
                        <a:t>Apache Superset</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4"/>
                  </a:ext>
                </a:extLst>
              </a:tr>
              <a:tr h="181619">
                <a:tc>
                  <a:txBody>
                    <a:bodyPr/>
                    <a:lstStyle/>
                    <a:p>
                      <a:pPr rtl="0"/>
                      <a:r>
                        <a:rPr lang="en-GB" sz="600" u="none" strike="noStrike" dirty="0">
                          <a:solidFill>
                            <a:srgbClr val="0645AD"/>
                          </a:solidFill>
                          <a:effectLst/>
                          <a:hlinkClick r:id="rId59" tooltip="Arborescence"/>
                        </a:rPr>
                        <a:t>Visualisation </a:t>
                      </a:r>
                      <a:r>
                        <a:rPr lang="en-GB" sz="600" u="none" strike="noStrike" dirty="0" err="1">
                          <a:solidFill>
                            <a:srgbClr val="0645AD"/>
                          </a:solidFill>
                          <a:effectLst/>
                          <a:hlinkClick r:id="rId59" tooltip="Arborescence"/>
                        </a:rPr>
                        <a:t>d'arborescenc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60" tooltip="Archifiltre"/>
                        </a:rPr>
                        <a:t>Archifiltr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5"/>
                  </a:ext>
                </a:extLst>
              </a:tr>
              <a:tr h="181619">
                <a:tc>
                  <a:txBody>
                    <a:bodyPr/>
                    <a:lstStyle/>
                    <a:p>
                      <a:pPr rtl="0"/>
                      <a:r>
                        <a:rPr lang="en-GB" sz="600" u="none" strike="noStrike" dirty="0" err="1">
                          <a:solidFill>
                            <a:srgbClr val="0645AD"/>
                          </a:solidFill>
                          <a:effectLst/>
                          <a:hlinkClick r:id="rId61" tooltip="Éditeur HTML"/>
                        </a:rPr>
                        <a:t>Éditeur</a:t>
                      </a:r>
                      <a:r>
                        <a:rPr lang="en-GB" sz="600" u="none" strike="noStrike" dirty="0">
                          <a:solidFill>
                            <a:srgbClr val="0645AD"/>
                          </a:solidFill>
                          <a:effectLst/>
                          <a:hlinkClick r:id="rId61" tooltip="Éditeur HTML"/>
                        </a:rPr>
                        <a:t> HTML</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62" tooltip="BlueGriffon"/>
                        </a:rPr>
                        <a:t>BlueGriffon</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6"/>
                  </a:ext>
                </a:extLst>
              </a:tr>
              <a:tr h="181619">
                <a:tc>
                  <a:txBody>
                    <a:bodyPr/>
                    <a:lstStyle/>
                    <a:p>
                      <a:pPr rtl="0"/>
                      <a:r>
                        <a:rPr lang="en-GB" sz="600" u="none" strike="noStrike" dirty="0">
                          <a:solidFill>
                            <a:srgbClr val="0645AD"/>
                          </a:solidFill>
                          <a:effectLst/>
                          <a:hlinkClick r:id="rId63" tooltip="Logiciel antivirus"/>
                        </a:rPr>
                        <a:t>Antivirus</a:t>
                      </a:r>
                      <a:r>
                        <a:rPr lang="en-GB" sz="600" dirty="0">
                          <a:effectLst/>
                        </a:rPr>
                        <a:t> (</a:t>
                      </a:r>
                      <a:r>
                        <a:rPr lang="en-GB" sz="600" u="none" strike="noStrike" dirty="0" err="1">
                          <a:solidFill>
                            <a:srgbClr val="0645AD"/>
                          </a:solidFill>
                          <a:effectLst/>
                          <a:hlinkClick r:id="rId64" tooltip="Serveur informatique"/>
                        </a:rPr>
                        <a:t>orienté</a:t>
                      </a:r>
                      <a:r>
                        <a:rPr lang="en-GB" sz="600" u="none" strike="noStrike" dirty="0">
                          <a:solidFill>
                            <a:srgbClr val="0645AD"/>
                          </a:solidFill>
                          <a:effectLst/>
                          <a:hlinkClick r:id="rId64" tooltip="Serveur informatique"/>
                        </a:rPr>
                        <a:t> </a:t>
                      </a:r>
                      <a:r>
                        <a:rPr lang="en-GB" sz="600" u="none" strike="noStrike" dirty="0" err="1">
                          <a:solidFill>
                            <a:srgbClr val="0645AD"/>
                          </a:solidFill>
                          <a:effectLst/>
                          <a:hlinkClick r:id="rId64" tooltip="Serveur informatique"/>
                        </a:rPr>
                        <a:t>serveur</a:t>
                      </a:r>
                      <a:r>
                        <a:rPr lang="en-GB" sz="600" dirty="0">
                          <a:effectLst/>
                        </a:rPr>
                        <a:t>)</a:t>
                      </a: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65" tooltip="ClamAV"/>
                        </a:rPr>
                        <a:t>ClamAV</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7"/>
                  </a:ext>
                </a:extLst>
              </a:tr>
              <a:tr h="181619">
                <a:tc>
                  <a:txBody>
                    <a:bodyPr/>
                    <a:lstStyle/>
                    <a:p>
                      <a:pPr rtl="0"/>
                      <a:r>
                        <a:rPr lang="en-GB" sz="600" dirty="0" err="1">
                          <a:effectLst/>
                        </a:rPr>
                        <a:t>Créateur</a:t>
                      </a:r>
                      <a:r>
                        <a:rPr lang="en-GB" sz="600" dirty="0">
                          <a:effectLst/>
                        </a:rPr>
                        <a:t> menus pour </a:t>
                      </a:r>
                      <a:r>
                        <a:rPr lang="en-GB" sz="600" u="none" strike="noStrike" dirty="0">
                          <a:solidFill>
                            <a:srgbClr val="0645AD"/>
                          </a:solidFill>
                          <a:effectLst/>
                          <a:hlinkClick r:id="rId66" tooltip="DVD"/>
                        </a:rPr>
                        <a:t>DVD</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3366BB"/>
                          </a:solidFill>
                          <a:effectLst/>
                          <a:hlinkClick r:id="rId67"/>
                        </a:rPr>
                        <a:t>DVD Styler</a:t>
                      </a:r>
                      <a:r>
                        <a:rPr lang="en-GB" sz="600" dirty="0">
                          <a:effectLst/>
                        </a:rPr>
                        <a:t> [</a:t>
                      </a:r>
                      <a:r>
                        <a:rPr lang="en-GB" sz="600" u="none" strike="noStrike" dirty="0">
                          <a:solidFill>
                            <a:srgbClr val="3366BB"/>
                          </a:solidFill>
                          <a:effectLst/>
                          <a:hlinkClick r:id="rId68" tooltip="archive sur Wikiwix"/>
                        </a:rPr>
                        <a:t>archive</a:t>
                      </a:r>
                      <a:r>
                        <a:rPr lang="en-GB" sz="600" dirty="0">
                          <a:effectLst/>
                        </a:rPr>
                        <a:t>]</a:t>
                      </a: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8"/>
                  </a:ext>
                </a:extLst>
              </a:tr>
              <a:tr h="181619">
                <a:tc>
                  <a:txBody>
                    <a:bodyPr/>
                    <a:lstStyle/>
                    <a:p>
                      <a:pPr rtl="0"/>
                      <a:r>
                        <a:rPr lang="en-GB" sz="600" u="none" strike="noStrike" dirty="0">
                          <a:solidFill>
                            <a:srgbClr val="0645AD"/>
                          </a:solidFill>
                          <a:effectLst/>
                          <a:hlinkClick r:id="rId69" tooltip="Forum (informatique)"/>
                        </a:rPr>
                        <a:t>Forum</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70" tooltip="Discourse"/>
                        </a:rPr>
                        <a:t>Discours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29"/>
                  </a:ext>
                </a:extLst>
              </a:tr>
              <a:tr h="181619">
                <a:tc>
                  <a:txBody>
                    <a:bodyPr/>
                    <a:lstStyle/>
                    <a:p>
                      <a:pPr rtl="0"/>
                      <a:r>
                        <a:rPr lang="en-GB" sz="600" u="none" strike="noStrike" dirty="0" err="1">
                          <a:solidFill>
                            <a:srgbClr val="0645AD"/>
                          </a:solidFill>
                          <a:effectLst/>
                          <a:hlinkClick r:id="rId71" tooltip="Schéma"/>
                        </a:rPr>
                        <a:t>Schémas</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3366BB"/>
                          </a:solidFill>
                          <a:effectLst/>
                          <a:hlinkClick r:id="rId72"/>
                        </a:rPr>
                        <a:t>Draw.io Desktop</a:t>
                      </a:r>
                      <a:r>
                        <a:rPr lang="en-GB" sz="600" dirty="0">
                          <a:effectLst/>
                        </a:rPr>
                        <a:t> [</a:t>
                      </a:r>
                      <a:r>
                        <a:rPr lang="en-GB" sz="600" u="none" strike="noStrike" dirty="0">
                          <a:solidFill>
                            <a:srgbClr val="3366BB"/>
                          </a:solidFill>
                          <a:effectLst/>
                          <a:hlinkClick r:id="rId73" tooltip="archive sur Wikiwix"/>
                        </a:rPr>
                        <a:t>archive</a:t>
                      </a:r>
                      <a:r>
                        <a:rPr lang="en-GB" sz="600" dirty="0">
                          <a:effectLst/>
                        </a:rPr>
                        <a:t>]</a:t>
                      </a: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30"/>
                  </a:ext>
                </a:extLst>
              </a:tr>
              <a:tr h="181619">
                <a:tc>
                  <a:txBody>
                    <a:bodyPr/>
                    <a:lstStyle/>
                    <a:p>
                      <a:pPr rtl="0"/>
                      <a:r>
                        <a:rPr lang="en-GB" sz="600" u="none" strike="noStrike" dirty="0">
                          <a:solidFill>
                            <a:srgbClr val="0645AD"/>
                          </a:solidFill>
                          <a:effectLst/>
                          <a:hlinkClick r:id="rId74" tooltip="Sondage d'opinion"/>
                        </a:rPr>
                        <a:t>Sondage</a:t>
                      </a:r>
                      <a:r>
                        <a:rPr lang="en-GB" sz="600" dirty="0">
                          <a:effectLst/>
                        </a:rPr>
                        <a:t> pour dates</a:t>
                      </a: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75" tooltip="Framadate"/>
                        </a:rPr>
                        <a:t>Framadat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31"/>
                  </a:ext>
                </a:extLst>
              </a:tr>
              <a:tr h="181619">
                <a:tc>
                  <a:txBody>
                    <a:bodyPr/>
                    <a:lstStyle/>
                    <a:p>
                      <a:pPr rtl="0"/>
                      <a:r>
                        <a:rPr lang="en-GB" sz="600" u="none" strike="noStrike">
                          <a:solidFill>
                            <a:srgbClr val="0645AD"/>
                          </a:solidFill>
                          <a:effectLst/>
                          <a:hlinkClick r:id="rId76" tooltip="Synchronisation de fichiers"/>
                        </a:rPr>
                        <a:t>Synchronisation et sauvegarde de fichiers</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77" tooltip="FreeFileSync"/>
                        </a:rPr>
                        <a:t>FreeFileSync</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32"/>
                  </a:ext>
                </a:extLst>
              </a:tr>
              <a:tr h="181619">
                <a:tc>
                  <a:txBody>
                    <a:bodyPr/>
                    <a:lstStyle/>
                    <a:p>
                      <a:pPr rtl="0"/>
                      <a:r>
                        <a:rPr lang="en-GB" sz="600" u="none" strike="noStrike" dirty="0" err="1">
                          <a:solidFill>
                            <a:srgbClr val="0645AD"/>
                          </a:solidFill>
                          <a:effectLst/>
                          <a:hlinkClick r:id="rId78" tooltip="OpenStreetMap"/>
                        </a:rPr>
                        <a:t>Édition</a:t>
                      </a:r>
                      <a:r>
                        <a:rPr lang="en-GB" sz="600" u="none" strike="noStrike" dirty="0">
                          <a:solidFill>
                            <a:srgbClr val="0645AD"/>
                          </a:solidFill>
                          <a:effectLst/>
                          <a:hlinkClick r:id="rId78" tooltip="OpenStreetMap"/>
                        </a:rPr>
                        <a:t> </a:t>
                      </a:r>
                      <a:r>
                        <a:rPr lang="en-GB" sz="600" u="none" strike="noStrike" dirty="0" err="1">
                          <a:solidFill>
                            <a:srgbClr val="0645AD"/>
                          </a:solidFill>
                          <a:effectLst/>
                          <a:hlinkClick r:id="rId78" tooltip="OpenStreetMap"/>
                        </a:rPr>
                        <a:t>d'OpenStreetMap</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0645AD"/>
                          </a:solidFill>
                          <a:effectLst/>
                          <a:hlinkClick r:id="rId79" tooltip="Java OpenStreetMap Editor"/>
                        </a:rPr>
                        <a:t>JOSM</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33"/>
                  </a:ext>
                </a:extLst>
              </a:tr>
              <a:tr h="181619">
                <a:tc>
                  <a:txBody>
                    <a:bodyPr/>
                    <a:lstStyle/>
                    <a:p>
                      <a:pPr rtl="0"/>
                      <a:r>
                        <a:rPr lang="en-GB" sz="600" u="none" strike="noStrike" dirty="0">
                          <a:solidFill>
                            <a:srgbClr val="0645AD"/>
                          </a:solidFill>
                          <a:effectLst/>
                          <a:hlinkClick r:id="rId80" tooltip="Scanner (informatique)"/>
                        </a:rPr>
                        <a:t>Scan de documents</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a:solidFill>
                            <a:srgbClr val="3366BB"/>
                          </a:solidFill>
                          <a:effectLst/>
                          <a:hlinkClick r:id="rId81"/>
                        </a:rPr>
                        <a:t>NAPS2</a:t>
                      </a:r>
                      <a:r>
                        <a:rPr lang="en-GB" sz="600" dirty="0">
                          <a:effectLst/>
                        </a:rPr>
                        <a:t> [</a:t>
                      </a:r>
                      <a:r>
                        <a:rPr lang="en-GB" sz="600" u="none" strike="noStrike" dirty="0">
                          <a:solidFill>
                            <a:srgbClr val="3366BB"/>
                          </a:solidFill>
                          <a:effectLst/>
                          <a:hlinkClick r:id="rId82" tooltip="archive sur Wikiwix"/>
                        </a:rPr>
                        <a:t>archive</a:t>
                      </a:r>
                      <a:r>
                        <a:rPr lang="en-GB" sz="600" dirty="0">
                          <a:effectLst/>
                        </a:rPr>
                        <a:t>]</a:t>
                      </a: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34"/>
                  </a:ext>
                </a:extLst>
              </a:tr>
              <a:tr h="181619">
                <a:tc>
                  <a:txBody>
                    <a:bodyPr/>
                    <a:lstStyle/>
                    <a:p>
                      <a:pPr rtl="0"/>
                      <a:r>
                        <a:rPr lang="en-GB" sz="600" u="none" strike="noStrike" dirty="0">
                          <a:solidFill>
                            <a:srgbClr val="0645AD"/>
                          </a:solidFill>
                          <a:effectLst/>
                          <a:hlinkClick r:id="rId83" tooltip="Portable Document Format"/>
                        </a:rPr>
                        <a:t>Modification de </a:t>
                      </a:r>
                      <a:r>
                        <a:rPr lang="en-GB" sz="600" u="none" strike="noStrike" dirty="0" err="1">
                          <a:solidFill>
                            <a:srgbClr val="0645AD"/>
                          </a:solidFill>
                          <a:effectLst/>
                          <a:hlinkClick r:id="rId83" tooltip="Portable Document Format"/>
                        </a:rPr>
                        <a:t>fichiers</a:t>
                      </a:r>
                      <a:r>
                        <a:rPr lang="en-GB" sz="600" u="none" strike="noStrike" dirty="0">
                          <a:solidFill>
                            <a:srgbClr val="0645AD"/>
                          </a:solidFill>
                          <a:effectLst/>
                          <a:hlinkClick r:id="rId83" tooltip="Portable Document Format"/>
                        </a:rPr>
                        <a:t> pdf</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0645AD"/>
                          </a:solidFill>
                          <a:effectLst/>
                          <a:hlinkClick r:id="rId84" tooltip="PDF Split and Merge"/>
                        </a:rPr>
                        <a:t>PDFSam</a:t>
                      </a:r>
                      <a:r>
                        <a:rPr lang="en-GB" sz="600" u="none" strike="noStrike" dirty="0">
                          <a:solidFill>
                            <a:srgbClr val="0645AD"/>
                          </a:solidFill>
                          <a:effectLst/>
                          <a:hlinkClick r:id="rId84" tooltip="PDF Split and Merge"/>
                        </a:rPr>
                        <a:t> Basic</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35"/>
                  </a:ext>
                </a:extLst>
              </a:tr>
              <a:tr h="181619">
                <a:tc>
                  <a:txBody>
                    <a:bodyPr/>
                    <a:lstStyle/>
                    <a:p>
                      <a:pPr rtl="0"/>
                      <a:r>
                        <a:rPr lang="en-GB" sz="600" u="none" strike="noStrike" dirty="0" err="1">
                          <a:solidFill>
                            <a:srgbClr val="0645AD"/>
                          </a:solidFill>
                          <a:effectLst/>
                          <a:hlinkClick r:id="rId27" tooltip="Messagerie instantanée"/>
                        </a:rPr>
                        <a:t>Messagerie</a:t>
                      </a:r>
                      <a:r>
                        <a:rPr lang="en-GB" sz="600" u="none" strike="noStrike" dirty="0">
                          <a:solidFill>
                            <a:srgbClr val="0645AD"/>
                          </a:solidFill>
                          <a:effectLst/>
                          <a:hlinkClick r:id="rId27" tooltip="Messagerie instantanée"/>
                        </a:rPr>
                        <a:t> </a:t>
                      </a:r>
                      <a:r>
                        <a:rPr lang="en-GB" sz="600" u="none" strike="noStrike" dirty="0" err="1">
                          <a:solidFill>
                            <a:srgbClr val="0645AD"/>
                          </a:solidFill>
                          <a:effectLst/>
                          <a:hlinkClick r:id="rId27" tooltip="Messagerie instantanée"/>
                        </a:rPr>
                        <a:t>instantanée</a:t>
                      </a:r>
                      <a:endParaRPr lang="en-GB" sz="600" dirty="0">
                        <a:effectLst/>
                      </a:endParaRP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tc>
                  <a:txBody>
                    <a:bodyPr/>
                    <a:lstStyle/>
                    <a:p>
                      <a:pPr rtl="0"/>
                      <a:r>
                        <a:rPr lang="en-GB" sz="600" u="none" strike="noStrike" dirty="0" err="1">
                          <a:solidFill>
                            <a:srgbClr val="3366BB"/>
                          </a:solidFill>
                          <a:effectLst/>
                          <a:hlinkClick r:id="rId85"/>
                        </a:rPr>
                        <a:t>RocketChat</a:t>
                      </a:r>
                      <a:r>
                        <a:rPr lang="en-GB" sz="600" dirty="0">
                          <a:effectLst/>
                        </a:rPr>
                        <a:t> [</a:t>
                      </a:r>
                      <a:r>
                        <a:rPr lang="en-GB" sz="600" u="none" strike="noStrike" dirty="0">
                          <a:solidFill>
                            <a:srgbClr val="3366BB"/>
                          </a:solidFill>
                          <a:effectLst/>
                          <a:hlinkClick r:id="rId86" tooltip="archive sur Wikiwix"/>
                        </a:rPr>
                        <a:t>archive</a:t>
                      </a:r>
                      <a:r>
                        <a:rPr lang="en-GB" sz="600" dirty="0">
                          <a:effectLst/>
                        </a:rPr>
                        <a:t>]</a:t>
                      </a:r>
                    </a:p>
                  </a:txBody>
                  <a:tcPr marL="28817" marR="28817" marT="14408" marB="14408" anchor="ctr">
                    <a:lnL w="7620" cap="flat" cmpd="sng" algn="ctr">
                      <a:solidFill>
                        <a:srgbClr val="A2A9B1"/>
                      </a:solidFill>
                      <a:prstDash val="solid"/>
                      <a:round/>
                      <a:headEnd type="none" w="med" len="med"/>
                      <a:tailEnd type="none" w="med" len="med"/>
                    </a:lnL>
                    <a:lnR w="7620" cap="flat" cmpd="sng" algn="ctr">
                      <a:solidFill>
                        <a:srgbClr val="A2A9B1"/>
                      </a:solidFill>
                      <a:prstDash val="solid"/>
                      <a:round/>
                      <a:headEnd type="none" w="med" len="med"/>
                      <a:tailEnd type="none" w="med" len="med"/>
                    </a:lnR>
                    <a:lnT w="7620" cap="flat" cmpd="sng" algn="ctr">
                      <a:solidFill>
                        <a:srgbClr val="A2A9B1"/>
                      </a:solidFill>
                      <a:prstDash val="solid"/>
                      <a:round/>
                      <a:headEnd type="none" w="med" len="med"/>
                      <a:tailEnd type="none" w="med" len="med"/>
                    </a:lnT>
                    <a:lnB w="7620" cap="flat" cmpd="sng" algn="ctr">
                      <a:solidFill>
                        <a:srgbClr val="A2A9B1"/>
                      </a:solidFill>
                      <a:prstDash val="solid"/>
                      <a:round/>
                      <a:headEnd type="none" w="med" len="med"/>
                      <a:tailEnd type="none" w="med" len="med"/>
                    </a:lnB>
                    <a:solidFill>
                      <a:srgbClr val="F8F9FA"/>
                    </a:solidFill>
                  </a:tcPr>
                </a:tc>
                <a:extLst>
                  <a:ext uri="{0D108BD9-81ED-4DB2-BD59-A6C34878D82A}">
                    <a16:rowId xmlns:a16="http://schemas.microsoft.com/office/drawing/2014/main" val="10036"/>
                  </a:ext>
                </a:extLst>
              </a:tr>
            </a:tbl>
          </a:graphicData>
        </a:graphic>
      </p:graphicFrame>
      <p:sp>
        <p:nvSpPr>
          <p:cNvPr id="5" name="Rectangle 2"/>
          <p:cNvSpPr>
            <a:spLocks noChangeArrowheads="1"/>
          </p:cNvSpPr>
          <p:nvPr/>
        </p:nvSpPr>
        <p:spPr bwMode="auto">
          <a:xfrm>
            <a:off x="8502650" y="543610"/>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eaLnBrk="0" fontAlgn="base" latinLnBrk="0" hangingPunct="0">
              <a:lnSpc>
                <a:spcPct val="100000"/>
              </a:lnSpc>
              <a:spcBef>
                <a:spcPct val="0"/>
              </a:spcBef>
              <a:spcAft>
                <a:spcPct val="0"/>
              </a:spcAft>
              <a:buClrTx/>
              <a:buSzTx/>
              <a:buFontTx/>
              <a:buNone/>
              <a:tabLst/>
            </a:pPr>
            <a:br>
              <a:rPr kumimoji="0" lang="en-GB" altLang="en-US" sz="1800" b="0" i="0" u="none" strike="noStrike" cap="none" normalizeH="0" baseline="0" dirty="0">
                <a:ln>
                  <a:noFill/>
                </a:ln>
                <a:solidFill>
                  <a:schemeClr val="tx1"/>
                </a:solidFill>
                <a:effectLst/>
                <a:latin typeface="Arial" panose="020B0604020202020204" pitchFamily="34" charset="0"/>
              </a:rPr>
            </a:b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8" name="Rectangle 7">
            <a:extLst>
              <a:ext uri="{FF2B5EF4-FFF2-40B4-BE49-F238E27FC236}">
                <a16:creationId xmlns:a16="http://schemas.microsoft.com/office/drawing/2014/main" id="{C6731286-3D38-4C3B-988E-714CD956480F}"/>
              </a:ext>
            </a:extLst>
          </p:cNvPr>
          <p:cNvSpPr/>
          <p:nvPr/>
        </p:nvSpPr>
        <p:spPr>
          <a:xfrm>
            <a:off x="975366" y="-6866"/>
            <a:ext cx="9895833" cy="1015663"/>
          </a:xfrm>
          <a:prstGeom prst="rect">
            <a:avLst/>
          </a:prstGeom>
        </p:spPr>
        <p:txBody>
          <a:bodyPr wrap="square">
            <a:spAutoFit/>
          </a:bodyPr>
          <a:lstStyle/>
          <a:p>
            <a:r>
              <a:rPr lang="en-GB" sz="6000">
                <a:solidFill>
                  <a:schemeClr val="bg1"/>
                </a:solidFill>
                <a:latin typeface="+mj-lt"/>
                <a:ea typeface="+mj-ea"/>
                <a:cs typeface="+mj-cs"/>
              </a:rPr>
              <a:t>Off-the-shelf?</a:t>
            </a:r>
            <a:endParaRPr lang="en-GB" sz="6000" dirty="0">
              <a:solidFill>
                <a:schemeClr val="bg1"/>
              </a:solidFill>
              <a:latin typeface="+mj-lt"/>
              <a:ea typeface="+mj-ea"/>
              <a:cs typeface="+mj-cs"/>
            </a:endParaRPr>
          </a:p>
        </p:txBody>
      </p:sp>
      <p:sp>
        <p:nvSpPr>
          <p:cNvPr id="11" name="ZoneTexte 4">
            <a:extLst>
              <a:ext uri="{FF2B5EF4-FFF2-40B4-BE49-F238E27FC236}">
                <a16:creationId xmlns:a16="http://schemas.microsoft.com/office/drawing/2014/main" id="{AF951625-AE18-4D52-B9F9-F12FF0346BEF}"/>
              </a:ext>
            </a:extLst>
          </p:cNvPr>
          <p:cNvSpPr txBox="1">
            <a:spLocks/>
          </p:cNvSpPr>
          <p:nvPr/>
        </p:nvSpPr>
        <p:spPr>
          <a:xfrm>
            <a:off x="838201" y="948912"/>
            <a:ext cx="5130652" cy="584775"/>
          </a:xfrm>
          <a:prstGeom prst="rect">
            <a:avLst/>
          </a:prstGeom>
          <a:noFill/>
        </p:spPr>
        <p:txBody>
          <a:bodyPr wrap="square" rtlCol="0">
            <a:spAutoFit/>
          </a:bodyPr>
          <a:lstStyle/>
          <a:p>
            <a:r>
              <a:rPr lang="en-GB" sz="3200"/>
              <a:t>Case study on France</a:t>
            </a:r>
            <a:endParaRPr lang="en-GB" sz="3200" dirty="0"/>
          </a:p>
        </p:txBody>
      </p:sp>
    </p:spTree>
    <p:extLst>
      <p:ext uri="{BB962C8B-B14F-4D97-AF65-F5344CB8AC3E}">
        <p14:creationId xmlns:p14="http://schemas.microsoft.com/office/powerpoint/2010/main" val="42582722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5ECBC25-92E9-4BE8-A0F1-3F90069170BF}"/>
              </a:ext>
            </a:extLst>
          </p:cNvPr>
          <p:cNvGraphicFramePr>
            <a:graphicFrameLocks noChangeAspect="1"/>
          </p:cNvGraphicFramePr>
          <p:nvPr>
            <p:custDataLst>
              <p:tags r:id="rId1"/>
            </p:custDataLst>
            <p:extLst>
              <p:ext uri="{D42A27DB-BD31-4B8C-83A1-F6EECF244321}">
                <p14:modId xmlns:p14="http://schemas.microsoft.com/office/powerpoint/2010/main" val="2406131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6" name="Object 5" hidden="1">
                        <a:extLst>
                          <a:ext uri="{FF2B5EF4-FFF2-40B4-BE49-F238E27FC236}">
                            <a16:creationId xmlns:a16="http://schemas.microsoft.com/office/drawing/2014/main" id="{F5ECBC25-92E9-4BE8-A0F1-3F90069170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ous-titre 2"/>
          <p:cNvSpPr>
            <a:spLocks noGrp="1"/>
          </p:cNvSpPr>
          <p:nvPr>
            <p:ph type="subTitle" idx="1"/>
          </p:nvPr>
        </p:nvSpPr>
        <p:spPr>
          <a:xfrm>
            <a:off x="838200" y="1120878"/>
            <a:ext cx="11122742" cy="4660094"/>
          </a:xfrm>
        </p:spPr>
        <p:txBody>
          <a:bodyPr/>
          <a:lstStyle/>
          <a:p>
            <a:r>
              <a:rPr lang="en-GB" sz="2000" dirty="0"/>
              <a:t>Procurement must be based on:</a:t>
            </a:r>
          </a:p>
          <a:p>
            <a:pPr marL="342900" indent="-342900">
              <a:buFont typeface="Wingdings" panose="05000000000000000000" pitchFamily="2" charset="2"/>
              <a:buChar char="§"/>
            </a:pPr>
            <a:r>
              <a:rPr lang="en-GB" sz="2000" dirty="0"/>
              <a:t>Definition of IT architecture (the European Interoperability Framework provides a high- level structure for many aspects of an IT architecture).</a:t>
            </a:r>
          </a:p>
          <a:p>
            <a:pPr marL="342900" indent="-342900">
              <a:buFont typeface="Wingdings" panose="05000000000000000000" pitchFamily="2" charset="2"/>
              <a:buChar char="§"/>
            </a:pPr>
            <a:r>
              <a:rPr lang="en-GB" sz="2000" dirty="0"/>
              <a:t>Functional and technical definition of requirements (no vendor- or brand- based terms) </a:t>
            </a:r>
          </a:p>
          <a:p>
            <a:pPr marL="342900" indent="-342900">
              <a:buFont typeface="Wingdings" panose="05000000000000000000" pitchFamily="2" charset="2"/>
              <a:buChar char="§"/>
            </a:pPr>
            <a:r>
              <a:rPr lang="en-GB" sz="2000" dirty="0"/>
              <a:t>Definitions of required open standards when applicable </a:t>
            </a:r>
          </a:p>
          <a:p>
            <a:pPr marL="342900" indent="-342900">
              <a:buFont typeface="Wingdings" panose="05000000000000000000" pitchFamily="2" charset="2"/>
              <a:buChar char="§"/>
            </a:pPr>
            <a:r>
              <a:rPr lang="en-GB" sz="2000" dirty="0"/>
              <a:t>Complete and  “long term” costs estimation:</a:t>
            </a:r>
          </a:p>
          <a:p>
            <a:pPr marL="1371600" lvl="4" indent="-457200" algn="l">
              <a:buFont typeface="Arial" panose="020B0604020202020204" pitchFamily="34" charset="0"/>
              <a:buChar char="•"/>
            </a:pPr>
            <a:r>
              <a:rPr lang="en-GB" sz="2000" dirty="0">
                <a:solidFill>
                  <a:srgbClr val="7F7F7F"/>
                </a:solidFill>
              </a:rPr>
              <a:t>Isolated migration costs when imposed by the old system</a:t>
            </a:r>
          </a:p>
          <a:p>
            <a:pPr marL="1371600" lvl="4" indent="-457200" algn="l">
              <a:buFont typeface="Arial" panose="020B0604020202020204" pitchFamily="34" charset="0"/>
              <a:buChar char="•"/>
            </a:pPr>
            <a:r>
              <a:rPr lang="en-GB" sz="2000" dirty="0">
                <a:solidFill>
                  <a:srgbClr val="7F7F7F"/>
                </a:solidFill>
              </a:rPr>
              <a:t>Development and implementation costs</a:t>
            </a:r>
          </a:p>
          <a:p>
            <a:pPr marL="1371600" lvl="4" indent="-457200" algn="l">
              <a:buFont typeface="Arial" panose="020B0604020202020204" pitchFamily="34" charset="0"/>
              <a:buChar char="•"/>
            </a:pPr>
            <a:r>
              <a:rPr lang="en-GB" sz="2000" dirty="0">
                <a:solidFill>
                  <a:srgbClr val="7F7F7F"/>
                </a:solidFill>
              </a:rPr>
              <a:t>Operational and maintenance costs</a:t>
            </a:r>
          </a:p>
          <a:p>
            <a:pPr marL="1371600" lvl="4" indent="-457200" algn="l">
              <a:buFont typeface="Arial" panose="020B0604020202020204" pitchFamily="34" charset="0"/>
              <a:buChar char="•"/>
            </a:pPr>
            <a:r>
              <a:rPr lang="en-GB" sz="2000" dirty="0">
                <a:solidFill>
                  <a:srgbClr val="7F7F7F"/>
                </a:solidFill>
              </a:rPr>
              <a:t>Exit costs</a:t>
            </a:r>
          </a:p>
          <a:p>
            <a:endParaRPr lang="en-GB" sz="2400" dirty="0"/>
          </a:p>
        </p:txBody>
      </p:sp>
      <p:sp>
        <p:nvSpPr>
          <p:cNvPr id="7" name="Rectangle 6">
            <a:extLst>
              <a:ext uri="{FF2B5EF4-FFF2-40B4-BE49-F238E27FC236}">
                <a16:creationId xmlns:a16="http://schemas.microsoft.com/office/drawing/2014/main" id="{475664CC-9DF8-4686-9D0A-D1F875251F93}"/>
              </a:ext>
            </a:extLst>
          </p:cNvPr>
          <p:cNvSpPr/>
          <p:nvPr/>
        </p:nvSpPr>
        <p:spPr>
          <a:xfrm>
            <a:off x="975366" y="-6866"/>
            <a:ext cx="9895833" cy="1015663"/>
          </a:xfrm>
          <a:prstGeom prst="rect">
            <a:avLst/>
          </a:prstGeom>
        </p:spPr>
        <p:txBody>
          <a:bodyPr wrap="square">
            <a:spAutoFit/>
          </a:bodyPr>
          <a:lstStyle/>
          <a:p>
            <a:r>
              <a:rPr lang="en-GB" sz="6000">
                <a:solidFill>
                  <a:schemeClr val="bg1"/>
                </a:solidFill>
                <a:latin typeface="+mj-lt"/>
                <a:ea typeface="+mj-ea"/>
                <a:cs typeface="+mj-cs"/>
              </a:rPr>
              <a:t>Custom-built software</a:t>
            </a:r>
            <a:endParaRPr lang="en-GB" sz="6000" dirty="0">
              <a:solidFill>
                <a:schemeClr val="bg1"/>
              </a:solidFill>
              <a:latin typeface="+mj-lt"/>
              <a:ea typeface="+mj-ea"/>
              <a:cs typeface="+mj-cs"/>
            </a:endParaRPr>
          </a:p>
        </p:txBody>
      </p:sp>
    </p:spTree>
    <p:extLst>
      <p:ext uri="{BB962C8B-B14F-4D97-AF65-F5344CB8AC3E}">
        <p14:creationId xmlns:p14="http://schemas.microsoft.com/office/powerpoint/2010/main" val="6263623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B56E-3A25-45A1-BB5B-12508ABB98E3}"/>
              </a:ext>
            </a:extLst>
          </p:cNvPr>
          <p:cNvGraphicFramePr>
            <a:graphicFrameLocks noChangeAspect="1"/>
          </p:cNvGraphicFramePr>
          <p:nvPr>
            <p:custDataLst>
              <p:tags r:id="rId1"/>
            </p:custDataLst>
            <p:extLst>
              <p:ext uri="{D42A27DB-BD31-4B8C-83A1-F6EECF244321}">
                <p14:modId xmlns:p14="http://schemas.microsoft.com/office/powerpoint/2010/main" val="396351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8" name="Object 7" hidden="1">
                        <a:extLst>
                          <a:ext uri="{FF2B5EF4-FFF2-40B4-BE49-F238E27FC236}">
                            <a16:creationId xmlns:a16="http://schemas.microsoft.com/office/drawing/2014/main" id="{7E37B56E-3A25-45A1-BB5B-12508ABB98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ous-titre 2"/>
          <p:cNvSpPr>
            <a:spLocks noGrp="1"/>
          </p:cNvSpPr>
          <p:nvPr>
            <p:ph type="subTitle" idx="1"/>
          </p:nvPr>
        </p:nvSpPr>
        <p:spPr>
          <a:xfrm>
            <a:off x="838201" y="1268360"/>
            <a:ext cx="5803899" cy="4807975"/>
          </a:xfrm>
        </p:spPr>
        <p:txBody>
          <a:bodyPr/>
          <a:lstStyle/>
          <a:p>
            <a:r>
              <a:rPr lang="en-GB" sz="2000" dirty="0"/>
              <a:t>Convenient for Study, test and evaluation purpose.</a:t>
            </a:r>
          </a:p>
          <a:p>
            <a:r>
              <a:rPr lang="en-GB" sz="2000" dirty="0"/>
              <a:t>Do not miss other evaluation steps:</a:t>
            </a:r>
          </a:p>
          <a:p>
            <a:pPr marL="342900" indent="-342900">
              <a:buFont typeface="Wingdings" panose="05000000000000000000" pitchFamily="2" charset="2"/>
              <a:buChar char="§"/>
            </a:pPr>
            <a:r>
              <a:rPr lang="en-GB" sz="2000" dirty="0"/>
              <a:t>Functional (comparisons)</a:t>
            </a:r>
          </a:p>
          <a:p>
            <a:pPr marL="342900" indent="-342900">
              <a:buFont typeface="Wingdings" panose="05000000000000000000" pitchFamily="2" charset="2"/>
              <a:buChar char="§"/>
            </a:pPr>
            <a:r>
              <a:rPr lang="en-GB" sz="2000" dirty="0"/>
              <a:t>Legal (impact of licensing – EUPL compatibility ?)</a:t>
            </a:r>
          </a:p>
          <a:p>
            <a:pPr marL="342900" indent="-342900">
              <a:buFont typeface="Wingdings" panose="05000000000000000000" pitchFamily="2" charset="2"/>
              <a:buChar char="§"/>
            </a:pPr>
            <a:r>
              <a:rPr lang="en-GB" sz="2000" dirty="0"/>
              <a:t>Evaluation of language, repositories, support, maturity,  reliability</a:t>
            </a:r>
          </a:p>
          <a:p>
            <a:pPr marL="342900" indent="-342900">
              <a:buFont typeface="Wingdings" panose="05000000000000000000" pitchFamily="2" charset="2"/>
              <a:buChar char="§"/>
            </a:pPr>
            <a:r>
              <a:rPr lang="en-GB" sz="2000" dirty="0"/>
              <a:t>Sustainability for long term support - by the service provider (minimum turnover, capital) and by the size and quality of the developer’s community</a:t>
            </a:r>
          </a:p>
          <a:p>
            <a:pPr marL="285750" indent="-285750">
              <a:buFontTx/>
              <a:buChar char="-"/>
            </a:pPr>
            <a:endParaRPr lang="en-GB" sz="2400" dirty="0"/>
          </a:p>
        </p:txBody>
      </p:sp>
      <p:graphicFrame>
        <p:nvGraphicFramePr>
          <p:cNvPr id="4" name="Tableau 3"/>
          <p:cNvGraphicFramePr>
            <a:graphicFrameLocks noGrp="1"/>
          </p:cNvGraphicFramePr>
          <p:nvPr>
            <p:extLst>
              <p:ext uri="{D42A27DB-BD31-4B8C-83A1-F6EECF244321}">
                <p14:modId xmlns:p14="http://schemas.microsoft.com/office/powerpoint/2010/main" val="2686308668"/>
              </p:ext>
            </p:extLst>
          </p:nvPr>
        </p:nvGraphicFramePr>
        <p:xfrm>
          <a:off x="6799006" y="1445342"/>
          <a:ext cx="5176684" cy="4630994"/>
        </p:xfrm>
        <a:graphic>
          <a:graphicData uri="http://schemas.openxmlformats.org/drawingml/2006/table">
            <a:tbl>
              <a:tblPr>
                <a:tableStyleId>{5C22544A-7EE6-4342-B048-85BDC9FD1C3A}</a:tableStyleId>
              </a:tblPr>
              <a:tblGrid>
                <a:gridCol w="2543613">
                  <a:extLst>
                    <a:ext uri="{9D8B030D-6E8A-4147-A177-3AD203B41FA5}">
                      <a16:colId xmlns:a16="http://schemas.microsoft.com/office/drawing/2014/main" val="20000"/>
                    </a:ext>
                  </a:extLst>
                </a:gridCol>
                <a:gridCol w="2633071">
                  <a:extLst>
                    <a:ext uri="{9D8B030D-6E8A-4147-A177-3AD203B41FA5}">
                      <a16:colId xmlns:a16="http://schemas.microsoft.com/office/drawing/2014/main" val="20001"/>
                    </a:ext>
                  </a:extLst>
                </a:gridCol>
              </a:tblGrid>
              <a:tr h="855407">
                <a:tc>
                  <a:txBody>
                    <a:bodyPr/>
                    <a:lstStyle/>
                    <a:p>
                      <a:pPr marL="0" marR="30480" lvl="1" indent="0" algn="ctr" rtl="0" eaLnBrk="0" hangingPunct="0">
                        <a:lnSpc>
                          <a:spcPct val="100000"/>
                        </a:lnSpc>
                        <a:spcBef>
                          <a:spcPts val="295"/>
                        </a:spcBef>
                        <a:spcAft>
                          <a:spcPts val="0"/>
                        </a:spcAft>
                      </a:pPr>
                      <a:r>
                        <a:rPr lang="en-GB" sz="2000" b="1" u="sng" spc="-5" dirty="0">
                          <a:effectLst/>
                        </a:rPr>
                        <a:t>Downloading</a:t>
                      </a:r>
                      <a:r>
                        <a:rPr lang="en-GB" sz="2000" b="1" u="sng" spc="140" dirty="0">
                          <a:effectLst/>
                        </a:rPr>
                        <a:t> </a:t>
                      </a:r>
                      <a:r>
                        <a:rPr lang="en-GB" sz="2000" b="1" u="sng" spc="-5" dirty="0">
                          <a:effectLst/>
                        </a:rPr>
                        <a:t>software</a:t>
                      </a:r>
                      <a:r>
                        <a:rPr lang="en-GB" sz="2000" b="1" u="sng" spc="145" dirty="0">
                          <a:effectLst/>
                        </a:rPr>
                        <a:t> </a:t>
                      </a:r>
                      <a:r>
                        <a:rPr lang="en-GB" sz="2000" b="1" u="sng" spc="-5" dirty="0">
                          <a:effectLst/>
                        </a:rPr>
                        <a:t>free</a:t>
                      </a:r>
                      <a:r>
                        <a:rPr lang="en-GB" sz="2000" b="1" u="sng" spc="155" dirty="0">
                          <a:effectLst/>
                        </a:rPr>
                        <a:t> </a:t>
                      </a:r>
                      <a:r>
                        <a:rPr lang="en-GB" sz="2000" b="1" u="sng" spc="-5" dirty="0">
                          <a:effectLst/>
                        </a:rPr>
                        <a:t>of</a:t>
                      </a:r>
                      <a:r>
                        <a:rPr lang="en-GB" sz="2000" b="1" u="sng" spc="110" dirty="0">
                          <a:effectLst/>
                        </a:rPr>
                        <a:t> </a:t>
                      </a:r>
                      <a:r>
                        <a:rPr lang="en-GB" sz="2000" b="1" u="sng" spc="-5" dirty="0">
                          <a:effectLst/>
                        </a:rPr>
                        <a:t>charge</a:t>
                      </a:r>
                      <a:endParaRPr lang="en-GB" sz="2000" b="1" u="sng"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0" lvl="1" indent="0" algn="ctr" rtl="0" eaLnBrk="0" hangingPunct="0">
                        <a:lnSpc>
                          <a:spcPct val="100000"/>
                        </a:lnSpc>
                        <a:spcBef>
                          <a:spcPts val="245"/>
                        </a:spcBef>
                        <a:spcAft>
                          <a:spcPts val="0"/>
                        </a:spcAft>
                      </a:pPr>
                      <a:r>
                        <a:rPr lang="en-GB" sz="2000" b="1" u="sng" spc="-5" dirty="0">
                          <a:effectLst/>
                        </a:rPr>
                        <a:t>Purchasing</a:t>
                      </a:r>
                      <a:r>
                        <a:rPr lang="en-GB" sz="2000" b="1" u="sng" spc="-55" dirty="0">
                          <a:effectLst/>
                        </a:rPr>
                        <a:t> </a:t>
                      </a:r>
                      <a:r>
                        <a:rPr lang="en-GB" sz="2000" b="1" u="sng" spc="-5" dirty="0">
                          <a:effectLst/>
                        </a:rPr>
                        <a:t>software</a:t>
                      </a:r>
                      <a:endParaRPr lang="en-GB" sz="2000" b="1" u="sng"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0"/>
                  </a:ext>
                </a:extLst>
              </a:tr>
              <a:tr h="863052">
                <a:tc>
                  <a:txBody>
                    <a:bodyPr/>
                    <a:lstStyle/>
                    <a:p>
                      <a:pPr marL="0" marR="32385" lvl="1" indent="0" algn="l" rtl="0" eaLnBrk="0" hangingPunct="0">
                        <a:lnSpc>
                          <a:spcPct val="100000"/>
                        </a:lnSpc>
                        <a:spcBef>
                          <a:spcPts val="275"/>
                        </a:spcBef>
                        <a:spcAft>
                          <a:spcPts val="0"/>
                        </a:spcAft>
                        <a:tabLst>
                          <a:tab pos="633413" algn="l"/>
                          <a:tab pos="1200150" algn="l"/>
                          <a:tab pos="1490663" algn="l"/>
                        </a:tabLst>
                      </a:pPr>
                      <a:r>
                        <a:rPr lang="en-GB" sz="2000" spc="-5" dirty="0">
                          <a:effectLst/>
                        </a:rPr>
                        <a:t>Large	emphasis	 on</a:t>
                      </a:r>
                      <a:br>
                        <a:rPr lang="en-GB" sz="2000" spc="-5" dirty="0">
                          <a:effectLst/>
                        </a:rPr>
                      </a:br>
                      <a:r>
                        <a:rPr lang="en-GB" sz="2000" spc="-5" dirty="0">
                          <a:effectLst/>
                        </a:rPr>
                        <a:t>market</a:t>
                      </a:r>
                      <a:r>
                        <a:rPr lang="en-GB" sz="2000" spc="145" dirty="0">
                          <a:effectLst/>
                        </a:rPr>
                        <a:t> </a:t>
                      </a:r>
                      <a:r>
                        <a:rPr lang="en-GB" sz="2000" spc="-5" dirty="0">
                          <a:effectLst/>
                        </a:rPr>
                        <a:t>research</a:t>
                      </a:r>
                      <a:endParaRPr lang="en-GB"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0" lvl="1" indent="0" algn="l" rtl="0" eaLnBrk="0" hangingPunct="0">
                        <a:lnSpc>
                          <a:spcPct val="100000"/>
                        </a:lnSpc>
                        <a:spcBef>
                          <a:spcPts val="235"/>
                        </a:spcBef>
                        <a:spcAft>
                          <a:spcPts val="0"/>
                        </a:spcAft>
                      </a:pPr>
                      <a:r>
                        <a:rPr lang="en-GB" sz="2000" spc="-5" dirty="0">
                          <a:effectLst/>
                        </a:rPr>
                        <a:t>Large</a:t>
                      </a:r>
                      <a:r>
                        <a:rPr lang="en-GB" sz="2000" dirty="0">
                          <a:effectLst/>
                        </a:rPr>
                        <a:t> </a:t>
                      </a:r>
                      <a:r>
                        <a:rPr lang="en-GB" sz="2000" spc="-5" dirty="0">
                          <a:effectLst/>
                        </a:rPr>
                        <a:t>emphasis</a:t>
                      </a:r>
                      <a:r>
                        <a:rPr lang="en-GB" sz="2000" dirty="0">
                          <a:effectLst/>
                        </a:rPr>
                        <a:t> on </a:t>
                      </a:r>
                      <a:r>
                        <a:rPr lang="en-GB" sz="2000" spc="-5" dirty="0">
                          <a:effectLst/>
                        </a:rPr>
                        <a:t>specification</a:t>
                      </a:r>
                      <a:endParaRPr lang="en-GB"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1"/>
                  </a:ext>
                </a:extLst>
              </a:tr>
              <a:tr h="1998135">
                <a:tc>
                  <a:txBody>
                    <a:bodyPr/>
                    <a:lstStyle/>
                    <a:p>
                      <a:pPr marL="0" marR="32385" lvl="1" indent="0" algn="l" rtl="0" eaLnBrk="0" hangingPunct="0">
                        <a:lnSpc>
                          <a:spcPct val="100000"/>
                        </a:lnSpc>
                        <a:spcBef>
                          <a:spcPts val="275"/>
                        </a:spcBef>
                        <a:spcAft>
                          <a:spcPts val="0"/>
                        </a:spcAft>
                      </a:pPr>
                      <a:r>
                        <a:rPr lang="en-GB" sz="2000" spc="-5" dirty="0">
                          <a:effectLst/>
                        </a:rPr>
                        <a:t>Knowledge</a:t>
                      </a:r>
                      <a:r>
                        <a:rPr lang="en-GB" sz="2000" spc="225" dirty="0">
                          <a:effectLst/>
                        </a:rPr>
                        <a:t> </a:t>
                      </a:r>
                      <a:r>
                        <a:rPr lang="en-GB" sz="2000" spc="-5" dirty="0">
                          <a:effectLst/>
                        </a:rPr>
                        <a:t>to</a:t>
                      </a:r>
                      <a:r>
                        <a:rPr lang="en-GB" sz="2000" spc="240" dirty="0">
                          <a:effectLst/>
                        </a:rPr>
                        <a:t> </a:t>
                      </a:r>
                      <a:r>
                        <a:rPr lang="en-GB" sz="2000" spc="-5" dirty="0">
                          <a:effectLst/>
                        </a:rPr>
                        <a:t>search</a:t>
                      </a:r>
                      <a:r>
                        <a:rPr lang="en-GB" sz="2000" spc="240" dirty="0">
                          <a:effectLst/>
                        </a:rPr>
                        <a:t> </a:t>
                      </a:r>
                      <a:r>
                        <a:rPr lang="en-GB" sz="2000" spc="-5" dirty="0">
                          <a:effectLst/>
                        </a:rPr>
                        <a:t>for</a:t>
                      </a:r>
                      <a:r>
                        <a:rPr lang="en-GB" sz="2000" spc="225" dirty="0">
                          <a:effectLst/>
                        </a:rPr>
                        <a:t> </a:t>
                      </a:r>
                      <a:r>
                        <a:rPr lang="en-GB" sz="2000" dirty="0">
                          <a:effectLst/>
                        </a:rPr>
                        <a:t>the</a:t>
                      </a:r>
                      <a:r>
                        <a:rPr lang="en-GB" sz="2000" spc="140" dirty="0">
                          <a:effectLst/>
                        </a:rPr>
                        <a:t> </a:t>
                      </a:r>
                      <a:r>
                        <a:rPr lang="en-GB" sz="2000" spc="-5" dirty="0">
                          <a:effectLst/>
                        </a:rPr>
                        <a:t>appropriate</a:t>
                      </a:r>
                      <a:r>
                        <a:rPr lang="en-GB" sz="2000" spc="235" dirty="0">
                          <a:effectLst/>
                        </a:rPr>
                        <a:t> </a:t>
                      </a:r>
                      <a:r>
                        <a:rPr lang="en-GB" sz="2000" spc="-5" dirty="0">
                          <a:effectLst/>
                        </a:rPr>
                        <a:t>software</a:t>
                      </a:r>
                      <a:r>
                        <a:rPr lang="en-GB" sz="2000" spc="250" dirty="0">
                          <a:effectLst/>
                        </a:rPr>
                        <a:t> </a:t>
                      </a:r>
                      <a:r>
                        <a:rPr lang="en-GB" sz="2000" spc="-5" dirty="0">
                          <a:effectLst/>
                        </a:rPr>
                        <a:t>to</a:t>
                      </a:r>
                      <a:r>
                        <a:rPr lang="en-GB" sz="2000" spc="240" dirty="0">
                          <a:effectLst/>
                        </a:rPr>
                        <a:t> </a:t>
                      </a:r>
                      <a:r>
                        <a:rPr lang="en-GB" sz="2000" spc="-5" dirty="0">
                          <a:effectLst/>
                        </a:rPr>
                        <a:t>acquire</a:t>
                      </a:r>
                      <a:r>
                        <a:rPr lang="en-GB" sz="2000" spc="115" dirty="0">
                          <a:effectLst/>
                        </a:rPr>
                        <a:t> </a:t>
                      </a:r>
                      <a:r>
                        <a:rPr lang="en-GB" sz="2000" spc="-5" dirty="0">
                          <a:effectLst/>
                        </a:rPr>
                        <a:t>(download)</a:t>
                      </a:r>
                      <a:r>
                        <a:rPr lang="en-GB" sz="2000" spc="125" dirty="0">
                          <a:effectLst/>
                        </a:rPr>
                        <a:t> </a:t>
                      </a:r>
                      <a:r>
                        <a:rPr lang="en-GB" sz="2000" spc="-5" dirty="0">
                          <a:effectLst/>
                        </a:rPr>
                        <a:t>is</a:t>
                      </a:r>
                      <a:r>
                        <a:rPr lang="en-GB" sz="2000" spc="130" dirty="0">
                          <a:effectLst/>
                        </a:rPr>
                        <a:t> </a:t>
                      </a:r>
                      <a:r>
                        <a:rPr lang="en-GB" sz="2000" spc="-5" dirty="0">
                          <a:effectLst/>
                        </a:rPr>
                        <a:t>required</a:t>
                      </a:r>
                      <a:r>
                        <a:rPr lang="en-GB" sz="2000" spc="125" dirty="0">
                          <a:effectLst/>
                        </a:rPr>
                        <a:t> </a:t>
                      </a:r>
                      <a:r>
                        <a:rPr lang="en-GB" sz="2000" dirty="0">
                          <a:effectLst/>
                        </a:rPr>
                        <a:t>by</a:t>
                      </a:r>
                      <a:r>
                        <a:rPr lang="en-GB" sz="2000" spc="120" dirty="0">
                          <a:effectLst/>
                        </a:rPr>
                        <a:t> </a:t>
                      </a:r>
                      <a:r>
                        <a:rPr lang="en-GB" sz="2000" spc="-5" dirty="0">
                          <a:effectLst/>
                        </a:rPr>
                        <a:t>the</a:t>
                      </a:r>
                      <a:r>
                        <a:rPr lang="en-GB" sz="2000" spc="145" dirty="0">
                          <a:effectLst/>
                        </a:rPr>
                        <a:t> </a:t>
                      </a:r>
                      <a:r>
                        <a:rPr lang="en-GB" sz="2000" dirty="0">
                          <a:effectLst/>
                        </a:rPr>
                        <a:t>agency</a:t>
                      </a:r>
                      <a:endParaRPr lang="en-GB"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0" marR="31115" lvl="1" indent="0" algn="l" rtl="0" eaLnBrk="0" hangingPunct="0">
                        <a:lnSpc>
                          <a:spcPct val="100000"/>
                        </a:lnSpc>
                        <a:spcBef>
                          <a:spcPts val="275"/>
                        </a:spcBef>
                        <a:spcAft>
                          <a:spcPts val="0"/>
                        </a:spcAft>
                      </a:pPr>
                      <a:r>
                        <a:rPr lang="en-GB" sz="2000" spc="-5" dirty="0">
                          <a:effectLst/>
                        </a:rPr>
                        <a:t>Bidders</a:t>
                      </a:r>
                      <a:r>
                        <a:rPr lang="en-GB" sz="2000" spc="100" dirty="0">
                          <a:effectLst/>
                        </a:rPr>
                        <a:t> </a:t>
                      </a:r>
                      <a:r>
                        <a:rPr lang="en-GB" sz="2000" spc="-5" dirty="0">
                          <a:effectLst/>
                        </a:rPr>
                        <a:t>provide</a:t>
                      </a:r>
                      <a:r>
                        <a:rPr lang="en-GB" sz="2000" spc="90" dirty="0">
                          <a:effectLst/>
                        </a:rPr>
                        <a:t> </a:t>
                      </a:r>
                      <a:r>
                        <a:rPr lang="en-GB" sz="2000" spc="-5" dirty="0">
                          <a:effectLst/>
                        </a:rPr>
                        <a:t>some</a:t>
                      </a:r>
                      <a:r>
                        <a:rPr lang="en-GB" sz="2000" spc="95" dirty="0">
                          <a:effectLst/>
                        </a:rPr>
                        <a:t> </a:t>
                      </a:r>
                      <a:r>
                        <a:rPr lang="en-GB" sz="2000" dirty="0">
                          <a:effectLst/>
                        </a:rPr>
                        <a:t>of</a:t>
                      </a:r>
                      <a:r>
                        <a:rPr lang="en-GB" sz="2000" spc="80" dirty="0">
                          <a:effectLst/>
                        </a:rPr>
                        <a:t> </a:t>
                      </a:r>
                      <a:r>
                        <a:rPr lang="en-GB" sz="2000" spc="-5" dirty="0">
                          <a:effectLst/>
                        </a:rPr>
                        <a:t>the</a:t>
                      </a:r>
                      <a:r>
                        <a:rPr lang="en-GB" sz="2000" spc="135" dirty="0">
                          <a:effectLst/>
                        </a:rPr>
                        <a:t> </a:t>
                      </a:r>
                      <a:r>
                        <a:rPr lang="en-GB" sz="2000" spc="-5" dirty="0">
                          <a:effectLst/>
                        </a:rPr>
                        <a:t>knowledge,</a:t>
                      </a:r>
                      <a:r>
                        <a:rPr lang="en-GB" sz="2000" spc="160" dirty="0">
                          <a:effectLst/>
                        </a:rPr>
                        <a:t> </a:t>
                      </a:r>
                      <a:r>
                        <a:rPr lang="en-GB" sz="2000" spc="-5" dirty="0">
                          <a:effectLst/>
                        </a:rPr>
                        <a:t>though</a:t>
                      </a:r>
                      <a:r>
                        <a:rPr lang="en-GB" sz="2000" spc="160" dirty="0">
                          <a:effectLst/>
                        </a:rPr>
                        <a:t> </a:t>
                      </a:r>
                      <a:r>
                        <a:rPr lang="en-GB" sz="2000" spc="-5" dirty="0">
                          <a:effectLst/>
                        </a:rPr>
                        <a:t>preparing</a:t>
                      </a:r>
                      <a:r>
                        <a:rPr lang="en-GB" sz="2000" spc="150" dirty="0">
                          <a:effectLst/>
                        </a:rPr>
                        <a:t> </a:t>
                      </a:r>
                      <a:r>
                        <a:rPr lang="en-GB" sz="2000" spc="-5" dirty="0">
                          <a:effectLst/>
                        </a:rPr>
                        <a:t>the</a:t>
                      </a:r>
                      <a:r>
                        <a:rPr lang="en-GB" sz="2000" spc="150" dirty="0">
                          <a:effectLst/>
                        </a:rPr>
                        <a:t> </a:t>
                      </a:r>
                      <a:r>
                        <a:rPr lang="en-GB" sz="2000" spc="-5" dirty="0">
                          <a:effectLst/>
                        </a:rPr>
                        <a:t>tender</a:t>
                      </a:r>
                      <a:r>
                        <a:rPr lang="en-GB" sz="2000" spc="275" dirty="0">
                          <a:effectLst/>
                        </a:rPr>
                        <a:t> </a:t>
                      </a:r>
                      <a:r>
                        <a:rPr lang="en-GB" sz="2000" spc="-5" dirty="0">
                          <a:effectLst/>
                        </a:rPr>
                        <a:t>specifications</a:t>
                      </a:r>
                      <a:r>
                        <a:rPr lang="en-GB" sz="2000" spc="270" dirty="0">
                          <a:effectLst/>
                        </a:rPr>
                        <a:t> </a:t>
                      </a:r>
                      <a:r>
                        <a:rPr lang="en-GB" sz="2000" spc="-5" dirty="0">
                          <a:effectLst/>
                        </a:rPr>
                        <a:t>may</a:t>
                      </a:r>
                      <a:r>
                        <a:rPr lang="en-GB" sz="2000" spc="270" dirty="0">
                          <a:effectLst/>
                        </a:rPr>
                        <a:t> </a:t>
                      </a:r>
                      <a:r>
                        <a:rPr lang="en-GB" sz="2000" spc="-5" dirty="0">
                          <a:effectLst/>
                        </a:rPr>
                        <a:t>also</a:t>
                      </a:r>
                      <a:r>
                        <a:rPr lang="en-GB" sz="2000" spc="105" dirty="0">
                          <a:effectLst/>
                        </a:rPr>
                        <a:t> </a:t>
                      </a:r>
                      <a:r>
                        <a:rPr lang="en-GB" sz="2000" spc="-5" dirty="0">
                          <a:effectLst/>
                        </a:rPr>
                        <a:t>require</a:t>
                      </a:r>
                      <a:r>
                        <a:rPr lang="en-GB" sz="2000" spc="5" dirty="0">
                          <a:effectLst/>
                        </a:rPr>
                        <a:t> </a:t>
                      </a:r>
                      <a:r>
                        <a:rPr lang="en-GB" sz="2000" spc="-5" dirty="0">
                          <a:effectLst/>
                        </a:rPr>
                        <a:t>considerable</a:t>
                      </a:r>
                      <a:r>
                        <a:rPr lang="en-GB" sz="2000" spc="5" dirty="0">
                          <a:effectLst/>
                        </a:rPr>
                        <a:t> </a:t>
                      </a:r>
                      <a:r>
                        <a:rPr lang="en-GB" sz="2000" spc="-5" dirty="0">
                          <a:effectLst/>
                        </a:rPr>
                        <a:t>knowledge</a:t>
                      </a:r>
                      <a:endParaRPr lang="en-GB"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2"/>
                  </a:ext>
                </a:extLst>
              </a:tr>
              <a:tr h="765698">
                <a:tc>
                  <a:txBody>
                    <a:bodyPr/>
                    <a:lstStyle/>
                    <a:p>
                      <a:pPr marL="0" marR="32385" lvl="1" indent="0" algn="l" rtl="0" eaLnBrk="0" hangingPunct="0">
                        <a:lnSpc>
                          <a:spcPct val="100000"/>
                        </a:lnSpc>
                        <a:spcBef>
                          <a:spcPts val="275"/>
                        </a:spcBef>
                        <a:spcAft>
                          <a:spcPts val="0"/>
                        </a:spcAft>
                        <a:tabLst>
                          <a:tab pos="668020" algn="l"/>
                          <a:tab pos="1089660" algn="l"/>
                          <a:tab pos="1377950" algn="l"/>
                        </a:tabLst>
                      </a:pPr>
                      <a:r>
                        <a:rPr lang="en-GB" sz="2000" spc="-5" dirty="0">
                          <a:effectLst/>
                        </a:rPr>
                        <a:t>Services	must	be</a:t>
                      </a:r>
                      <a:r>
                        <a:rPr lang="en-GB" sz="2000" spc="-5" baseline="0" dirty="0">
                          <a:effectLst/>
                        </a:rPr>
                        <a:t> </a:t>
                      </a:r>
                      <a:r>
                        <a:rPr lang="en-GB" sz="2000" spc="-5" dirty="0">
                          <a:effectLst/>
                        </a:rPr>
                        <a:t>tendered</a:t>
                      </a:r>
                      <a:r>
                        <a:rPr lang="en-GB" sz="2000" spc="145" dirty="0">
                          <a:effectLst/>
                        </a:rPr>
                        <a:t> </a:t>
                      </a:r>
                      <a:r>
                        <a:rPr lang="en-GB" sz="2000" spc="-5" dirty="0">
                          <a:effectLst/>
                        </a:rPr>
                        <a:t>separately</a:t>
                      </a:r>
                      <a:endParaRPr lang="en-GB"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0" marR="32385" lvl="1" indent="0" algn="l" rtl="0" eaLnBrk="0" hangingPunct="0">
                        <a:lnSpc>
                          <a:spcPct val="100000"/>
                        </a:lnSpc>
                        <a:spcBef>
                          <a:spcPts val="275"/>
                        </a:spcBef>
                        <a:spcAft>
                          <a:spcPts val="0"/>
                        </a:spcAft>
                      </a:pPr>
                      <a:r>
                        <a:rPr lang="en-GB" sz="2000" spc="-5" dirty="0">
                          <a:effectLst/>
                        </a:rPr>
                        <a:t>Software</a:t>
                      </a:r>
                      <a:r>
                        <a:rPr lang="en-GB" sz="2000" dirty="0">
                          <a:effectLst/>
                        </a:rPr>
                        <a:t> </a:t>
                      </a:r>
                      <a:r>
                        <a:rPr lang="en-GB" sz="2000" spc="200" dirty="0">
                          <a:effectLst/>
                        </a:rPr>
                        <a:t> </a:t>
                      </a:r>
                      <a:r>
                        <a:rPr lang="en-GB" sz="2000" dirty="0">
                          <a:effectLst/>
                        </a:rPr>
                        <a:t>and </a:t>
                      </a:r>
                      <a:r>
                        <a:rPr lang="en-GB" sz="2000" spc="185" dirty="0">
                          <a:effectLst/>
                        </a:rPr>
                        <a:t> </a:t>
                      </a:r>
                      <a:r>
                        <a:rPr lang="en-GB" sz="2000" spc="-5" dirty="0">
                          <a:effectLst/>
                        </a:rPr>
                        <a:t>services</a:t>
                      </a:r>
                      <a:r>
                        <a:rPr lang="en-GB" sz="2000" dirty="0">
                          <a:effectLst/>
                        </a:rPr>
                        <a:t> </a:t>
                      </a:r>
                      <a:r>
                        <a:rPr lang="en-GB" sz="2000" spc="200" dirty="0">
                          <a:effectLst/>
                        </a:rPr>
                        <a:t> </a:t>
                      </a:r>
                      <a:r>
                        <a:rPr lang="en-GB" sz="2000" dirty="0">
                          <a:effectLst/>
                        </a:rPr>
                        <a:t>can </a:t>
                      </a:r>
                      <a:r>
                        <a:rPr lang="en-GB" sz="2000" spc="190" dirty="0">
                          <a:effectLst/>
                        </a:rPr>
                        <a:t> </a:t>
                      </a:r>
                      <a:r>
                        <a:rPr lang="en-GB" sz="2000" dirty="0">
                          <a:effectLst/>
                        </a:rPr>
                        <a:t>be</a:t>
                      </a:r>
                      <a:r>
                        <a:rPr lang="en-GB" sz="2000" spc="135" dirty="0">
                          <a:effectLst/>
                        </a:rPr>
                        <a:t> </a:t>
                      </a:r>
                      <a:r>
                        <a:rPr lang="en-GB" sz="2000" spc="-5" dirty="0">
                          <a:effectLst/>
                        </a:rPr>
                        <a:t>included</a:t>
                      </a:r>
                      <a:r>
                        <a:rPr lang="en-GB" sz="2000" dirty="0">
                          <a:effectLst/>
                        </a:rPr>
                        <a:t> </a:t>
                      </a:r>
                      <a:r>
                        <a:rPr lang="en-GB" sz="2000" spc="-5" dirty="0">
                          <a:effectLst/>
                        </a:rPr>
                        <a:t>in</a:t>
                      </a:r>
                      <a:r>
                        <a:rPr lang="en-GB" sz="2000" spc="5" dirty="0">
                          <a:effectLst/>
                        </a:rPr>
                        <a:t> </a:t>
                      </a:r>
                      <a:r>
                        <a:rPr lang="en-GB" sz="2000" dirty="0">
                          <a:effectLst/>
                        </a:rPr>
                        <a:t>the</a:t>
                      </a:r>
                      <a:r>
                        <a:rPr lang="en-GB" sz="2000" spc="5" dirty="0">
                          <a:effectLst/>
                        </a:rPr>
                        <a:t> </a:t>
                      </a:r>
                      <a:r>
                        <a:rPr lang="en-GB" sz="2000" spc="-5" dirty="0">
                          <a:effectLst/>
                        </a:rPr>
                        <a:t>same</a:t>
                      </a:r>
                      <a:r>
                        <a:rPr lang="en-GB" sz="2000" dirty="0">
                          <a:effectLst/>
                        </a:rPr>
                        <a:t> tender</a:t>
                      </a:r>
                      <a:endParaRPr lang="en-GB" sz="20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10003"/>
                  </a:ext>
                </a:extLst>
              </a:tr>
            </a:tbl>
          </a:graphicData>
        </a:graphic>
      </p:graphicFrame>
      <p:sp>
        <p:nvSpPr>
          <p:cNvPr id="7" name="Rectangle 6">
            <a:extLst>
              <a:ext uri="{FF2B5EF4-FFF2-40B4-BE49-F238E27FC236}">
                <a16:creationId xmlns:a16="http://schemas.microsoft.com/office/drawing/2014/main" id="{97C6C18F-E3CD-4A2C-8CCD-1545727ADBBF}"/>
              </a:ext>
            </a:extLst>
          </p:cNvPr>
          <p:cNvSpPr/>
          <p:nvPr/>
        </p:nvSpPr>
        <p:spPr>
          <a:xfrm>
            <a:off x="975366" y="-6866"/>
            <a:ext cx="9997434" cy="1015663"/>
          </a:xfrm>
          <a:prstGeom prst="rect">
            <a:avLst/>
          </a:prstGeom>
        </p:spPr>
        <p:txBody>
          <a:bodyPr wrap="square">
            <a:spAutoFit/>
          </a:bodyPr>
          <a:lstStyle/>
          <a:p>
            <a:r>
              <a:rPr lang="en-GB" sz="6000" dirty="0">
                <a:solidFill>
                  <a:schemeClr val="bg1"/>
                </a:solidFill>
                <a:latin typeface="+mj-lt"/>
                <a:ea typeface="+mj-ea"/>
                <a:cs typeface="+mj-cs"/>
              </a:rPr>
              <a:t>The case of “free </a:t>
            </a:r>
            <a:r>
              <a:rPr lang="en-GB" sz="6000">
                <a:solidFill>
                  <a:schemeClr val="bg1"/>
                </a:solidFill>
                <a:latin typeface="+mj-lt"/>
                <a:ea typeface="+mj-ea"/>
                <a:cs typeface="+mj-cs"/>
              </a:rPr>
              <a:t>downloading”</a:t>
            </a:r>
            <a:endParaRPr lang="en-GB" sz="6000" dirty="0">
              <a:solidFill>
                <a:schemeClr val="bg1"/>
              </a:solidFill>
              <a:latin typeface="+mj-lt"/>
              <a:ea typeface="+mj-ea"/>
              <a:cs typeface="+mj-cs"/>
            </a:endParaRPr>
          </a:p>
        </p:txBody>
      </p:sp>
    </p:spTree>
    <p:extLst>
      <p:ext uri="{BB962C8B-B14F-4D97-AF65-F5344CB8AC3E}">
        <p14:creationId xmlns:p14="http://schemas.microsoft.com/office/powerpoint/2010/main" val="21477144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FE72ED-0954-4129-8619-769B1DB414FF}"/>
              </a:ext>
            </a:extLst>
          </p:cNvPr>
          <p:cNvGraphicFramePr>
            <a:graphicFrameLocks noChangeAspect="1"/>
          </p:cNvGraphicFramePr>
          <p:nvPr>
            <p:custDataLst>
              <p:tags r:id="rId1"/>
            </p:custDataLst>
            <p:extLst>
              <p:ext uri="{D42A27DB-BD31-4B8C-83A1-F6EECF244321}">
                <p14:modId xmlns:p14="http://schemas.microsoft.com/office/powerpoint/2010/main" val="1508090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7" name="Object 6" hidden="1">
                        <a:extLst>
                          <a:ext uri="{FF2B5EF4-FFF2-40B4-BE49-F238E27FC236}">
                            <a16:creationId xmlns:a16="http://schemas.microsoft.com/office/drawing/2014/main" id="{0FFE72ED-0954-4129-8619-769B1DB414F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ous-titre 2"/>
          <p:cNvSpPr>
            <a:spLocks noGrp="1"/>
          </p:cNvSpPr>
          <p:nvPr>
            <p:ph type="subTitle" idx="1"/>
          </p:nvPr>
        </p:nvSpPr>
        <p:spPr>
          <a:xfrm>
            <a:off x="838201" y="1268360"/>
            <a:ext cx="10913426" cy="4807975"/>
          </a:xfrm>
        </p:spPr>
        <p:txBody>
          <a:bodyPr/>
          <a:lstStyle/>
          <a:p>
            <a:r>
              <a:rPr lang="en-GB" sz="2000" dirty="0"/>
              <a:t>It may be too late for trying to replace all proprietary « best sellers » (such as Windows/Office on PCs) or dominant proprietary services (GAFAM).</a:t>
            </a:r>
          </a:p>
          <a:p>
            <a:r>
              <a:rPr lang="en-GB" sz="2000" dirty="0"/>
              <a:t>There are successful Open Source wins (LINUX on servers, Internet, Drupal, etc. ).</a:t>
            </a:r>
          </a:p>
          <a:p>
            <a:r>
              <a:rPr lang="en-GB" sz="2000" dirty="0"/>
              <a:t>Open Source becomes the norm for public sector assets sharing and reuse.</a:t>
            </a:r>
          </a:p>
          <a:p>
            <a:r>
              <a:rPr lang="en-GB" sz="2000" dirty="0"/>
              <a:t>Going beyond « recommendations »  concerning Open Source in procurement or mandating a portfolio of Open Source Solutions is difficult.</a:t>
            </a:r>
          </a:p>
          <a:p>
            <a:r>
              <a:rPr lang="en-GB" sz="2000" dirty="0"/>
              <a:t>Alternatives:</a:t>
            </a:r>
          </a:p>
          <a:p>
            <a:pPr marL="342900" indent="-342900">
              <a:buFont typeface="Wingdings" panose="05000000000000000000" pitchFamily="2" charset="2"/>
              <a:buChar char="§"/>
            </a:pPr>
            <a:r>
              <a:rPr lang="en-GB" sz="2000" dirty="0"/>
              <a:t>Regulating the « reality » (equal treatment and transparency in procurement, open competition, use of open standards, personal data protection, Digital Services Act)</a:t>
            </a:r>
          </a:p>
          <a:p>
            <a:pPr marL="342900" indent="-342900">
              <a:buFont typeface="Wingdings" panose="05000000000000000000" pitchFamily="2" charset="2"/>
              <a:buChar char="§"/>
            </a:pPr>
            <a:r>
              <a:rPr lang="en-GB" sz="2000" dirty="0"/>
              <a:t>Investing on next generation open standards + legal interoperability tools (data algorithms, blockchain, New computing tech., EU common licensing/sharing tools)</a:t>
            </a:r>
          </a:p>
          <a:p>
            <a:pPr marL="342900" indent="-342900">
              <a:buFont typeface="Wingdings" panose="05000000000000000000" pitchFamily="2" charset="2"/>
              <a:buChar char="§"/>
            </a:pPr>
            <a:r>
              <a:rPr lang="en-GB" sz="2000" dirty="0"/>
              <a:t>Use joint procurement for developing new common public sector tools (i.e. health)</a:t>
            </a:r>
          </a:p>
          <a:p>
            <a:pPr marL="285750" indent="-285750">
              <a:buFontTx/>
              <a:buChar char="-"/>
            </a:pPr>
            <a:endParaRPr lang="en-GB" sz="2400" dirty="0"/>
          </a:p>
        </p:txBody>
      </p:sp>
      <p:sp>
        <p:nvSpPr>
          <p:cNvPr id="6" name="Rectangle 5">
            <a:extLst>
              <a:ext uri="{FF2B5EF4-FFF2-40B4-BE49-F238E27FC236}">
                <a16:creationId xmlns:a16="http://schemas.microsoft.com/office/drawing/2014/main" id="{513AD570-AD47-4ED2-9E83-EA60A32E0421}"/>
              </a:ext>
            </a:extLst>
          </p:cNvPr>
          <p:cNvSpPr/>
          <p:nvPr/>
        </p:nvSpPr>
        <p:spPr>
          <a:xfrm>
            <a:off x="975366" y="-6866"/>
            <a:ext cx="9895833" cy="1015663"/>
          </a:xfrm>
          <a:prstGeom prst="rect">
            <a:avLst/>
          </a:prstGeom>
        </p:spPr>
        <p:txBody>
          <a:bodyPr wrap="square">
            <a:spAutoFit/>
          </a:bodyPr>
          <a:lstStyle/>
          <a:p>
            <a:r>
              <a:rPr lang="en-GB" sz="6000">
                <a:solidFill>
                  <a:schemeClr val="bg1"/>
                </a:solidFill>
                <a:latin typeface="+mj-lt"/>
                <a:ea typeface="+mj-ea"/>
                <a:cs typeface="+mj-cs"/>
              </a:rPr>
              <a:t>Perspectives</a:t>
            </a:r>
            <a:endParaRPr lang="en-GB" sz="6000" dirty="0">
              <a:solidFill>
                <a:schemeClr val="bg1"/>
              </a:solidFill>
              <a:latin typeface="+mj-lt"/>
              <a:ea typeface="+mj-ea"/>
              <a:cs typeface="+mj-cs"/>
            </a:endParaRPr>
          </a:p>
        </p:txBody>
      </p:sp>
    </p:spTree>
    <p:extLst>
      <p:ext uri="{BB962C8B-B14F-4D97-AF65-F5344CB8AC3E}">
        <p14:creationId xmlns:p14="http://schemas.microsoft.com/office/powerpoint/2010/main" val="1007432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11D30"/>
      </a:dk1>
      <a:lt1>
        <a:srgbClr val="FFFFFF"/>
      </a:lt1>
      <a:dk2>
        <a:srgbClr val="011D30"/>
      </a:dk2>
      <a:lt2>
        <a:srgbClr val="FFFFFF"/>
      </a:lt2>
      <a:accent1>
        <a:srgbClr val="1758A9"/>
      </a:accent1>
      <a:accent2>
        <a:srgbClr val="288EBE"/>
      </a:accent2>
      <a:accent3>
        <a:srgbClr val="43BFBA"/>
      </a:accent3>
      <a:accent4>
        <a:srgbClr val="C2DA63"/>
      </a:accent4>
      <a:accent5>
        <a:srgbClr val="F39222"/>
      </a:accent5>
      <a:accent6>
        <a:srgbClr val="011D30"/>
      </a:accent6>
      <a:hlink>
        <a:srgbClr val="0563C1"/>
      </a:hlink>
      <a:folHlink>
        <a:srgbClr val="F39222"/>
      </a:folHlink>
    </a:clrScheme>
    <a:fontScheme name="Custom 1">
      <a:majorFont>
        <a:latin typeface="EC Square Sans Cond Pro"/>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Groups X - Document" ma:contentTypeID="0x0101002FECBCFE27A94FA4A49D56DA0627A7A7008D1BF7A463BC054395CDE7C97E2C1C7E" ma:contentTypeVersion="25" ma:contentTypeDescription="Content type used in default document library in Groups for external groups (no extra fields for metadata provided)" ma:contentTypeScope="" ma:versionID="83065a9d1f517088a21e3412eba78c4a">
  <xsd:schema xmlns:xsd="http://www.w3.org/2001/XMLSchema" xmlns:xs="http://www.w3.org/2001/XMLSchema" xmlns:p="http://schemas.microsoft.com/office/2006/metadata/properties" xmlns:ns1="http://schemas.microsoft.com/sharepoint/v3" xmlns:ns2="37a1ba71-6224-45a5-8d24-b6656e4b9786" xmlns:ns3="a3ae19f0-4dbe-43a6-b18c-ab24829349ad" targetNamespace="http://schemas.microsoft.com/office/2006/metadata/properties" ma:root="true" ma:fieldsID="ba857deb90143e4c02dd0bec9d379e59" ns1:_="" ns2:_="" ns3:_="">
    <xsd:import namespace="http://schemas.microsoft.com/sharepoint/v3"/>
    <xsd:import namespace="37a1ba71-6224-45a5-8d24-b6656e4b9786"/>
    <xsd:import namespace="a3ae19f0-4dbe-43a6-b18c-ab24829349ad"/>
    <xsd:element name="properties">
      <xsd:complexType>
        <xsd:sequence>
          <xsd:element name="documentManagement">
            <xsd:complexType>
              <xsd:all>
                <xsd:element ref="ns1:Editor" minOccurs="0"/>
                <xsd:element ref="ns1:_UIVersionString" minOccurs="0"/>
                <xsd:element ref="ns2:WS_KM" minOccurs="0"/>
                <xsd:element ref="ns2:TaxKeywordTaxHTField" minOccurs="0"/>
                <xsd:element ref="ns2:TaxCatchAll" minOccurs="0"/>
                <xsd:element ref="ns2:TaxCatchAllLabel" minOccurs="0"/>
                <xsd:element ref="ns2:i51f003d86e044fa8787db0c1fd77971"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2:SharedWithUsers" minOccurs="0"/>
                <xsd:element ref="ns2:SharedWithDetails" minOccurs="0"/>
                <xsd:element ref="ns3:lcf76f155ced4ddcb4097134ff3c332f" minOccurs="0"/>
                <xsd:element ref="ns3:MediaLengthInSecond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Editor" ma:index="1" nillable="true" ma:displayName="Modified By" ma:list="UserInfo" ma:internalName="Editor" ma:readOnly="tru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_UIVersionString" ma:index="2" nillable="true" ma:displayName="Version" ma:internalName="_UIVersionString"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7a1ba71-6224-45a5-8d24-b6656e4b9786" elementFormDefault="qualified">
    <xsd:import namespace="http://schemas.microsoft.com/office/2006/documentManagement/types"/>
    <xsd:import namespace="http://schemas.microsoft.com/office/infopath/2007/PartnerControls"/>
    <xsd:element name="WS_KM" ma:index="3" nillable="true" ma:displayName="KM" ma:default="0" ma:description="" ma:internalName="WS_KM">
      <xsd:simpleType>
        <xsd:restriction base="dms:Boolean"/>
      </xsd:simpleType>
    </xsd:element>
    <xsd:element name="TaxKeywordTaxHTField" ma:index="8" nillable="true" ma:taxonomy="true" ma:internalName="TaxKeywordTaxHTField" ma:taxonomyFieldName="TaxKeyword" ma:displayName="Enterprise Keywords" ma:fieldId="{23f27201-bee3-471e-b2e7-b64fd8b7ca38}" ma:taxonomyMulti="true" ma:sspId="f9efb03f-e9de-4143-b61f-0d56fef76e3e"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11cad98c-38cb-4b19-b05e-ba026c0882fb}" ma:internalName="TaxCatchAll" ma:showField="CatchAllData" ma:web="37a1ba71-6224-45a5-8d24-b6656e4b9786">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11cad98c-38cb-4b19-b05e-ba026c0882fb}" ma:internalName="TaxCatchAllLabel" ma:readOnly="true" ma:showField="CatchAllDataLabel" ma:web="37a1ba71-6224-45a5-8d24-b6656e4b9786">
      <xsd:complexType>
        <xsd:complexContent>
          <xsd:extension base="dms:MultiChoiceLookup">
            <xsd:sequence>
              <xsd:element name="Value" type="dms:Lookup" maxOccurs="unbounded" minOccurs="0" nillable="true"/>
            </xsd:sequence>
          </xsd:extension>
        </xsd:complexContent>
      </xsd:complexType>
    </xsd:element>
    <xsd:element name="i51f003d86e044fa8787db0c1fd77971" ma:index="15" nillable="true" ma:taxonomy="true" ma:internalName="i51f003d86e044fa8787db0c1fd77971" ma:taxonomyFieldName="WSDocumentType" ma:displayName="Type de document" ma:fieldId="{251f003d-86e0-44fa-8787-db0c1fd77971}" ma:sspId="f9efb03f-e9de-4143-b61f-0d56fef76e3e" ma:termSetId="401140da-6a5d-431c-946b-19bb8ebb57bd" ma:anchorId="00000000-0000-0000-0000-000000000000" ma:open="false" ma:isKeyword="false">
      <xsd:complexType>
        <xsd:sequence>
          <xsd:element ref="pc:Terms" minOccurs="0" maxOccurs="1"/>
        </xsd:sequence>
      </xsd:complexType>
    </xsd:element>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3ae19f0-4dbe-43a6-b18c-ab24829349ad" elementFormDefault="qualified">
    <xsd:import namespace="http://schemas.microsoft.com/office/2006/documentManagement/types"/>
    <xsd:import namespace="http://schemas.microsoft.com/office/infopath/2007/PartnerControls"/>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ServiceAutoTags" ma:index="21" nillable="true" ma:displayName="Tags" ma:internalName="MediaServiceAutoTags" ma:readOnly="true">
      <xsd:simpleType>
        <xsd:restriction base="dms:Text"/>
      </xsd:simpleType>
    </xsd:element>
    <xsd:element name="MediaServiceOCR" ma:index="22" nillable="true" ma:displayName="Extracted Text" ma:internalName="MediaServiceOCR" ma:readOnly="true">
      <xsd:simpleType>
        <xsd:restriction base="dms:Note">
          <xsd:maxLength value="255"/>
        </xsd:restriction>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lcf76f155ced4ddcb4097134ff3c332f" ma:index="28" nillable="true" ma:taxonomy="true" ma:internalName="lcf76f155ced4ddcb4097134ff3c332f" ma:taxonomyFieldName="MediaServiceImageTags" ma:displayName="Image Tags" ma:readOnly="false" ma:fieldId="{5cf76f15-5ced-4ddc-b409-7134ff3c332f}" ma:taxonomyMulti="true" ma:sspId="f9efb03f-e9de-4143-b61f-0d56fef76e3e" ma:termSetId="09814cd3-568e-fe90-9814-8d621ff8fb84" ma:anchorId="fba54fb3-c3e1-fe81-a776-ca4b69148c4d" ma:open="true" ma:isKeyword="false">
      <xsd:complexType>
        <xsd:sequence>
          <xsd:element ref="pc:Terms" minOccurs="0" maxOccurs="1"/>
        </xsd:sequence>
      </xsd:complexType>
    </xsd:element>
    <xsd:element name="MediaLengthInSeconds" ma:index="29" nillable="true" ma:displayName="MediaLengthInSeconds" ma:hidden="true" ma:internalName="MediaLengthInSeconds" ma:readOnly="true">
      <xsd:simpleType>
        <xsd:restriction base="dms:Unknown"/>
      </xsd:simpleType>
    </xsd:element>
    <xsd:element name="MediaServiceDateTaken" ma:index="3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1" ma:displayName="Content Type"/>
        <xsd:element ref="dc:title" minOccurs="0" maxOccurs="1" ma:index="16"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WS_KM xmlns="37a1ba71-6224-45a5-8d24-b6656e4b9786">false</WS_KM>
    <i51f003d86e044fa8787db0c1fd77971 xmlns="37a1ba71-6224-45a5-8d24-b6656e4b9786">
      <Terms xmlns="http://schemas.microsoft.com/office/infopath/2007/PartnerControls"/>
    </i51f003d86e044fa8787db0c1fd77971>
    <TaxKeywordTaxHTField xmlns="37a1ba71-6224-45a5-8d24-b6656e4b9786">
      <Terms xmlns="http://schemas.microsoft.com/office/infopath/2007/PartnerControls"/>
    </TaxKeywordTaxHTField>
    <TaxCatchAll xmlns="37a1ba71-6224-45a5-8d24-b6656e4b9786" xsi:nil="true"/>
    <lcf76f155ced4ddcb4097134ff3c332f xmlns="a3ae19f0-4dbe-43a6-b18c-ab24829349a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93DF915-C16F-444A-88A7-6D55701BB6A6}"/>
</file>

<file path=customXml/itemProps2.xml><?xml version="1.0" encoding="utf-8"?>
<ds:datastoreItem xmlns:ds="http://schemas.openxmlformats.org/officeDocument/2006/customXml" ds:itemID="{58B75DEE-56A3-4DA8-993C-514DFEB24377}">
  <ds:schemaRefs>
    <ds:schemaRef ds:uri="http://schemas.microsoft.com/sharepoint/v3/contenttype/forms"/>
  </ds:schemaRefs>
</ds:datastoreItem>
</file>

<file path=customXml/itemProps3.xml><?xml version="1.0" encoding="utf-8"?>
<ds:datastoreItem xmlns:ds="http://schemas.openxmlformats.org/officeDocument/2006/customXml" ds:itemID="{F904A8BD-C0D5-4819-8EAF-93A6EE907520}">
  <ds:schemaRefs>
    <ds:schemaRef ds:uri="http://schemas.microsoft.com/office/2006/metadata/properties"/>
    <ds:schemaRef ds:uri="http://schemas.microsoft.com/office/infopath/2007/PartnerControls"/>
    <ds:schemaRef ds:uri="37a1ba71-6224-45a5-8d24-b6656e4b9786"/>
    <ds:schemaRef ds:uri="a3ae19f0-4dbe-43a6-b18c-ab24829349ad"/>
  </ds:schemaRefs>
</ds:datastoreItem>
</file>

<file path=docProps/app.xml><?xml version="1.0" encoding="utf-8"?>
<Properties xmlns="http://schemas.openxmlformats.org/officeDocument/2006/extended-properties" xmlns:vt="http://schemas.openxmlformats.org/officeDocument/2006/docPropsVTypes">
  <Template>Office Theme</Template>
  <TotalTime>14568</TotalTime>
  <Words>1311</Words>
  <Application>Microsoft Office PowerPoint</Application>
  <PresentationFormat>Widescreen</PresentationFormat>
  <Paragraphs>184</Paragraphs>
  <Slides>13</Slides>
  <Notes>1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3" baseType="lpstr">
      <vt:lpstr>Arial</vt:lpstr>
      <vt:lpstr>Calibri</vt:lpstr>
      <vt:lpstr>EC Square Sans Cond Pro</vt:lpstr>
      <vt:lpstr>EC Square Sans Pro</vt:lpstr>
      <vt:lpstr>Helvetica Neue</vt:lpstr>
      <vt:lpstr>Times New Roman</vt:lpstr>
      <vt:lpstr>Verdana</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DUSSUTOUR Chloé</cp:lastModifiedBy>
  <cp:revision>444</cp:revision>
  <cp:lastPrinted>2021-11-17T13:52:44Z</cp:lastPrinted>
  <dcterms:created xsi:type="dcterms:W3CDTF">2016-09-29T04:17:56Z</dcterms:created>
  <dcterms:modified xsi:type="dcterms:W3CDTF">2022-05-19T07:22: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d9ddd1-4d20-43f6-abfa-fc3c07406f94_Enabled">
    <vt:lpwstr>true</vt:lpwstr>
  </property>
  <property fmtid="{D5CDD505-2E9C-101B-9397-08002B2CF9AE}" pid="3" name="MSIP_Label_6bd9ddd1-4d20-43f6-abfa-fc3c07406f94_SetDate">
    <vt:lpwstr>2022-03-15T11:13:59Z</vt:lpwstr>
  </property>
  <property fmtid="{D5CDD505-2E9C-101B-9397-08002B2CF9AE}" pid="4" name="MSIP_Label_6bd9ddd1-4d20-43f6-abfa-fc3c07406f94_Method">
    <vt:lpwstr>Standard</vt:lpwstr>
  </property>
  <property fmtid="{D5CDD505-2E9C-101B-9397-08002B2CF9AE}" pid="5" name="MSIP_Label_6bd9ddd1-4d20-43f6-abfa-fc3c07406f94_Name">
    <vt:lpwstr>Commission Use</vt:lpwstr>
  </property>
  <property fmtid="{D5CDD505-2E9C-101B-9397-08002B2CF9AE}" pid="6" name="MSIP_Label_6bd9ddd1-4d20-43f6-abfa-fc3c07406f94_SiteId">
    <vt:lpwstr>b24c8b06-522c-46fe-9080-70926f8dddb1</vt:lpwstr>
  </property>
  <property fmtid="{D5CDD505-2E9C-101B-9397-08002B2CF9AE}" pid="7" name="MSIP_Label_6bd9ddd1-4d20-43f6-abfa-fc3c07406f94_ActionId">
    <vt:lpwstr>67edb266-3f01-4c5b-8ec0-2e5c8c6e9a93</vt:lpwstr>
  </property>
  <property fmtid="{D5CDD505-2E9C-101B-9397-08002B2CF9AE}" pid="8" name="MSIP_Label_6bd9ddd1-4d20-43f6-abfa-fc3c07406f94_ContentBits">
    <vt:lpwstr>0</vt:lpwstr>
  </property>
  <property fmtid="{D5CDD505-2E9C-101B-9397-08002B2CF9AE}" pid="9" name="ContentTypeId">
    <vt:lpwstr>0x0101002FECBCFE27A94FA4A49D56DA0627A7A7008D1BF7A463BC054395CDE7C97E2C1C7E</vt:lpwstr>
  </property>
  <property fmtid="{D5CDD505-2E9C-101B-9397-08002B2CF9AE}" pid="10" name="TaxKeyword">
    <vt:lpwstr/>
  </property>
  <property fmtid="{D5CDD505-2E9C-101B-9397-08002B2CF9AE}" pid="11" name="WSDocumentType">
    <vt:lpwstr/>
  </property>
  <property fmtid="{D5CDD505-2E9C-101B-9397-08002B2CF9AE}" pid="12" name="MediaServiceImageTags">
    <vt:lpwstr/>
  </property>
</Properties>
</file>